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4.xml" ContentType="application/vnd.openxmlformats-officedocument.theme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3.xml" ContentType="application/vnd.openxmlformats-officedocument.presentationml.notesSlide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9" r:id="rId1"/>
    <p:sldMasterId id="2147483663" r:id="rId2"/>
    <p:sldMasterId id="2147483678" r:id="rId3"/>
    <p:sldMasterId id="2147483696" r:id="rId4"/>
    <p:sldMasterId id="2147483712" r:id="rId5"/>
  </p:sldMasterIdLst>
  <p:notesMasterIdLst>
    <p:notesMasterId r:id="rId16"/>
  </p:notesMasterIdLst>
  <p:handoutMasterIdLst>
    <p:handoutMasterId r:id="rId17"/>
  </p:handoutMasterIdLst>
  <p:sldIdLst>
    <p:sldId id="407" r:id="rId6"/>
    <p:sldId id="396" r:id="rId7"/>
    <p:sldId id="389" r:id="rId8"/>
    <p:sldId id="393" r:id="rId9"/>
    <p:sldId id="373" r:id="rId10"/>
    <p:sldId id="411" r:id="rId11"/>
    <p:sldId id="410" r:id="rId12"/>
    <p:sldId id="387" r:id="rId13"/>
    <p:sldId id="388" r:id="rId14"/>
    <p:sldId id="408" r:id="rId15"/>
  </p:sldIdLst>
  <p:sldSz cx="12192000" cy="6858000"/>
  <p:notesSz cx="6797675" cy="9928225"/>
  <p:defaultTextStyle>
    <a:defPPr>
      <a:defRPr lang="it-IT"/>
    </a:defPPr>
    <a:lvl1pPr algn="l" rtl="0" fontAlgn="base">
      <a:spcBef>
        <a:spcPct val="0"/>
      </a:spcBef>
      <a:spcAft>
        <a:spcPct val="0"/>
      </a:spcAft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 userDrawn="1">
          <p15:clr>
            <a:srgbClr val="A4A3A4"/>
          </p15:clr>
        </p15:guide>
        <p15:guide id="2" pos="214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astelli Chiara" initials="CC" lastIdx="3" clrIdx="0"/>
  <p:cmAuthor id="1" name="Selvaggi Laura" initials="SL" lastIdx="2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DE88D"/>
    <a:srgbClr val="002060"/>
    <a:srgbClr val="00467A"/>
    <a:srgbClr val="00266B"/>
    <a:srgbClr val="FFD88B"/>
    <a:srgbClr val="EE832A"/>
    <a:srgbClr val="FFB219"/>
    <a:srgbClr val="FFB400"/>
    <a:srgbClr val="FFDC95"/>
    <a:srgbClr val="DBE2E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940675A-B579-460E-94D1-54222C63F5DA}" styleName="Nessuno stile, griglia tabel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A488322-F2BA-4B5B-9748-0D474271808F}" styleName="Stile medio 3 - 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D5ABB26-0587-4C30-8999-92F81FD0307C}" styleName="Nessuno stile, nessuna grigli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Stile con tema 1 - Colore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Stile con tema 1 - Colore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Stile con tema 1 - Colore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588" autoAdjust="0"/>
    <p:restoredTop sz="93716" autoAdjust="0"/>
  </p:normalViewPr>
  <p:slideViewPr>
    <p:cSldViewPr>
      <p:cViewPr varScale="1">
        <p:scale>
          <a:sx n="66" d="100"/>
          <a:sy n="66" d="100"/>
        </p:scale>
        <p:origin x="996" y="66"/>
      </p:cViewPr>
      <p:guideLst>
        <p:guide orient="horz" pos="2160"/>
        <p:guide pos="3840"/>
      </p:guideLst>
    </p:cSldViewPr>
  </p:slideViewPr>
  <p:outlineViewPr>
    <p:cViewPr>
      <p:scale>
        <a:sx n="25" d="100"/>
        <a:sy n="25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45" d="100"/>
          <a:sy n="45" d="100"/>
        </p:scale>
        <p:origin x="-3054" y="-108"/>
      </p:cViewPr>
      <p:guideLst>
        <p:guide orient="horz" pos="3128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10" Type="http://schemas.openxmlformats.org/officeDocument/2006/relationships/slide" Target="slides/slide5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.sacchi\Documents\Clienti%20-%20FCP\AssoRadio\2018\05.%20Maggio\Elaborati%20finali\Secondi%20di%20Avvisi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.sacchi\Documents\Clienti%20-%20FCP\AssoRadio\2018\05.%20Maggio\Elaborati%20finali\Secondi%20di%20Avvisi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.sacchi\Documents\Clienti%20-%20FCP\AssoRadio\2018\04.%20Aprile\Elaborati%20finali\Trend%20Fatturato%20Totale%20per%20tabelle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C:\Clienti\FCP\AssoRadio\dati\2016\02_Febbraio\Elaborati%20finali\Trend%20Fatturato%20Totale%20per%20tabelle.xlsx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.sacchi\Documents\Clienti%20-%20FCP\AssoRadio\2018\04.%20Aprile\Elaborati%20finali\Trend%20Fatturato%20Totale%20per%20tabelle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3045356847472324E-2"/>
          <c:y val="3.1460392784242508E-2"/>
          <c:w val="0.97390928630505536"/>
          <c:h val="0.77326807947926623"/>
        </c:manualLayout>
      </c:layout>
      <c:barChart>
        <c:barDir val="col"/>
        <c:grouping val="percentStacked"/>
        <c:varyColors val="0"/>
        <c:ser>
          <c:idx val="0"/>
          <c:order val="0"/>
          <c:tx>
            <c:v>&lt; 15" - Nazionale</c:v>
          </c:tx>
          <c:spPr>
            <a:solidFill>
              <a:srgbClr val="33CCCC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0,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1,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0,6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1,0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mtClean="0"/>
                      <a:t>1,4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/>
              <c:tx>
                <c:rich>
                  <a:bodyPr/>
                  <a:lstStyle/>
                  <a:p>
                    <a:r>
                      <a:rPr lang="en-US" smtClean="0"/>
                      <a:t>0,8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/>
              <c:tx>
                <c:rich>
                  <a:bodyPr/>
                  <a:lstStyle/>
                  <a:p>
                    <a:r>
                      <a:rPr lang="en-US" smtClean="0"/>
                      <a:t>1,0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(grafico!$B$1:$M$1,grafico!$O$1:$P$1)</c:f>
              <c:strCache>
                <c:ptCount val="14"/>
                <c:pt idx="0">
                  <c:v>ge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g</c:v>
                </c:pt>
                <c:pt idx="5">
                  <c:v>giu</c:v>
                </c:pt>
                <c:pt idx="6">
                  <c:v>lug</c:v>
                </c:pt>
                <c:pt idx="7">
                  <c:v>ago</c:v>
                </c:pt>
                <c:pt idx="8">
                  <c:v>set</c:v>
                </c:pt>
                <c:pt idx="9">
                  <c:v>ott</c:v>
                </c:pt>
                <c:pt idx="10">
                  <c:v>nov</c:v>
                </c:pt>
                <c:pt idx="11">
                  <c:v>dic</c:v>
                </c:pt>
                <c:pt idx="12">
                  <c:v>Tot. 2017</c:v>
                </c:pt>
                <c:pt idx="13">
                  <c:v>Tot. 2018</c:v>
                </c:pt>
              </c:strCache>
            </c:strRef>
          </c:cat>
          <c:val>
            <c:numRef>
              <c:f>(grafico!$B$2:$G$2,grafico!$O$2:$P$2)</c:f>
              <c:numCache>
                <c:formatCode>0.0%</c:formatCode>
                <c:ptCount val="8"/>
                <c:pt idx="0">
                  <c:v>1.99347816562455E-3</c:v>
                </c:pt>
                <c:pt idx="1">
                  <c:v>1.3128636256598278E-2</c:v>
                </c:pt>
                <c:pt idx="2">
                  <c:v>6.3366514137412925E-3</c:v>
                </c:pt>
                <c:pt idx="3">
                  <c:v>1.0353951464576135E-2</c:v>
                </c:pt>
                <c:pt idx="4">
                  <c:v>1.4059612488638613E-2</c:v>
                </c:pt>
                <c:pt idx="5">
                  <c:v>0</c:v>
                </c:pt>
                <c:pt idx="6">
                  <c:v>7.7732969752492597E-3</c:v>
                </c:pt>
                <c:pt idx="7">
                  <c:v>9.5524423132888024E-3</c:v>
                </c:pt>
              </c:numCache>
            </c:numRef>
          </c:val>
        </c:ser>
        <c:ser>
          <c:idx val="1"/>
          <c:order val="1"/>
          <c:tx>
            <c:v>15" - Nazionale</c:v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11,7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12,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12,4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14,0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mtClean="0"/>
                      <a:t>18,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/>
              <c:tx>
                <c:rich>
                  <a:bodyPr/>
                  <a:lstStyle/>
                  <a:p>
                    <a:r>
                      <a:rPr lang="en-US" smtClean="0"/>
                      <a:t>13,5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/>
              <c:tx>
                <c:rich>
                  <a:bodyPr/>
                  <a:lstStyle/>
                  <a:p>
                    <a:r>
                      <a:rPr lang="en-US" smtClean="0"/>
                      <a:t>14,0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(grafico!$B$1:$M$1,grafico!$O$1:$P$1)</c:f>
              <c:strCache>
                <c:ptCount val="14"/>
                <c:pt idx="0">
                  <c:v>ge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g</c:v>
                </c:pt>
                <c:pt idx="5">
                  <c:v>giu</c:v>
                </c:pt>
                <c:pt idx="6">
                  <c:v>lug</c:v>
                </c:pt>
                <c:pt idx="7">
                  <c:v>ago</c:v>
                </c:pt>
                <c:pt idx="8">
                  <c:v>set</c:v>
                </c:pt>
                <c:pt idx="9">
                  <c:v>ott</c:v>
                </c:pt>
                <c:pt idx="10">
                  <c:v>nov</c:v>
                </c:pt>
                <c:pt idx="11">
                  <c:v>dic</c:v>
                </c:pt>
                <c:pt idx="12">
                  <c:v>Tot. 2017</c:v>
                </c:pt>
                <c:pt idx="13">
                  <c:v>Tot. 2018</c:v>
                </c:pt>
              </c:strCache>
            </c:strRef>
          </c:cat>
          <c:val>
            <c:numRef>
              <c:f>(grafico!$B$3:$G$3,grafico!$O$3:$P$3)</c:f>
              <c:numCache>
                <c:formatCode>0.0%</c:formatCode>
                <c:ptCount val="8"/>
                <c:pt idx="0">
                  <c:v>0.11679215877724994</c:v>
                </c:pt>
                <c:pt idx="1">
                  <c:v>0.12124757915028549</c:v>
                </c:pt>
                <c:pt idx="2">
                  <c:v>0.12418257410189865</c:v>
                </c:pt>
                <c:pt idx="3">
                  <c:v>0.14034505513300463</c:v>
                </c:pt>
                <c:pt idx="4">
                  <c:v>0.18301928217443095</c:v>
                </c:pt>
                <c:pt idx="5">
                  <c:v>0</c:v>
                </c:pt>
                <c:pt idx="6">
                  <c:v>0.1349697466271837</c:v>
                </c:pt>
                <c:pt idx="7">
                  <c:v>0.13959207134195414</c:v>
                </c:pt>
              </c:numCache>
            </c:numRef>
          </c:val>
        </c:ser>
        <c:ser>
          <c:idx val="2"/>
          <c:order val="2"/>
          <c:tx>
            <c:v>20" - Nazionale</c:v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13,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13,5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13,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15,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mtClean="0"/>
                      <a:t>14,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/>
              <c:tx>
                <c:rich>
                  <a:bodyPr/>
                  <a:lstStyle/>
                  <a:p>
                    <a:r>
                      <a:rPr lang="en-US" smtClean="0"/>
                      <a:t>13,5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/>
              <c:tx>
                <c:rich>
                  <a:bodyPr/>
                  <a:lstStyle/>
                  <a:p>
                    <a:r>
                      <a:rPr lang="en-US" smtClean="0"/>
                      <a:t>14,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(grafico!$B$1:$M$1,grafico!$O$1:$P$1)</c:f>
              <c:strCache>
                <c:ptCount val="14"/>
                <c:pt idx="0">
                  <c:v>ge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g</c:v>
                </c:pt>
                <c:pt idx="5">
                  <c:v>giu</c:v>
                </c:pt>
                <c:pt idx="6">
                  <c:v>lug</c:v>
                </c:pt>
                <c:pt idx="7">
                  <c:v>ago</c:v>
                </c:pt>
                <c:pt idx="8">
                  <c:v>set</c:v>
                </c:pt>
                <c:pt idx="9">
                  <c:v>ott</c:v>
                </c:pt>
                <c:pt idx="10">
                  <c:v>nov</c:v>
                </c:pt>
                <c:pt idx="11">
                  <c:v>dic</c:v>
                </c:pt>
                <c:pt idx="12">
                  <c:v>Tot. 2017</c:v>
                </c:pt>
                <c:pt idx="13">
                  <c:v>Tot. 2018</c:v>
                </c:pt>
              </c:strCache>
            </c:strRef>
          </c:cat>
          <c:val>
            <c:numRef>
              <c:f>(grafico!$B$4:$G$4,grafico!$O$4:$P$4)</c:f>
              <c:numCache>
                <c:formatCode>0.0%</c:formatCode>
                <c:ptCount val="8"/>
                <c:pt idx="0">
                  <c:v>0.13868286485031703</c:v>
                </c:pt>
                <c:pt idx="1">
                  <c:v>0.13467414059212382</c:v>
                </c:pt>
                <c:pt idx="2">
                  <c:v>0.13194598586258707</c:v>
                </c:pt>
                <c:pt idx="3">
                  <c:v>0.15331302195747376</c:v>
                </c:pt>
                <c:pt idx="4">
                  <c:v>0.14212860613606523</c:v>
                </c:pt>
                <c:pt idx="5">
                  <c:v>0</c:v>
                </c:pt>
                <c:pt idx="6">
                  <c:v>0.13504431227293748</c:v>
                </c:pt>
                <c:pt idx="7">
                  <c:v>0.14063187963380278</c:v>
                </c:pt>
              </c:numCache>
            </c:numRef>
          </c:val>
        </c:ser>
        <c:ser>
          <c:idx val="3"/>
          <c:order val="3"/>
          <c:tx>
            <c:v>25" e 30" - Nazionale</c:v>
          </c:tx>
          <c:spPr>
            <a:solidFill>
              <a:srgbClr val="002060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73,4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72,0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71,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68,6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mtClean="0"/>
                      <a:t>64,7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/>
              <c:tx>
                <c:rich>
                  <a:bodyPr/>
                  <a:lstStyle/>
                  <a:p>
                    <a:r>
                      <a:rPr lang="en-US" smtClean="0"/>
                      <a:t>70,0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/>
              <c:tx>
                <c:rich>
                  <a:bodyPr/>
                  <a:lstStyle/>
                  <a:p>
                    <a:r>
                      <a:rPr lang="en-US" smtClean="0"/>
                      <a:t>69,7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(grafico!$B$1:$M$1,grafico!$O$1:$P$1)</c:f>
              <c:strCache>
                <c:ptCount val="14"/>
                <c:pt idx="0">
                  <c:v>ge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g</c:v>
                </c:pt>
                <c:pt idx="5">
                  <c:v>giu</c:v>
                </c:pt>
                <c:pt idx="6">
                  <c:v>lug</c:v>
                </c:pt>
                <c:pt idx="7">
                  <c:v>ago</c:v>
                </c:pt>
                <c:pt idx="8">
                  <c:v>set</c:v>
                </c:pt>
                <c:pt idx="9">
                  <c:v>ott</c:v>
                </c:pt>
                <c:pt idx="10">
                  <c:v>nov</c:v>
                </c:pt>
                <c:pt idx="11">
                  <c:v>dic</c:v>
                </c:pt>
                <c:pt idx="12">
                  <c:v>Tot. 2017</c:v>
                </c:pt>
                <c:pt idx="13">
                  <c:v>Tot. 2018</c:v>
                </c:pt>
              </c:strCache>
            </c:strRef>
          </c:cat>
          <c:val>
            <c:numRef>
              <c:f>(grafico!$B$5:$G$5,grafico!$O$5:$P$5)</c:f>
              <c:numCache>
                <c:formatCode>0.0%</c:formatCode>
                <c:ptCount val="8"/>
                <c:pt idx="0">
                  <c:v>0.73382215796358541</c:v>
                </c:pt>
                <c:pt idx="1">
                  <c:v>0.71963845101488866</c:v>
                </c:pt>
                <c:pt idx="2">
                  <c:v>0.71937534148340387</c:v>
                </c:pt>
                <c:pt idx="3">
                  <c:v>0.68582292343411166</c:v>
                </c:pt>
                <c:pt idx="4">
                  <c:v>0.64658015457421147</c:v>
                </c:pt>
                <c:pt idx="5">
                  <c:v>0</c:v>
                </c:pt>
                <c:pt idx="6">
                  <c:v>0.69974610865606057</c:v>
                </c:pt>
                <c:pt idx="7">
                  <c:v>0.69740596763454954</c:v>
                </c:pt>
              </c:numCache>
            </c:numRef>
          </c:val>
        </c:ser>
        <c:ser>
          <c:idx val="4"/>
          <c:order val="4"/>
          <c:tx>
            <c:v>&gt; 30" - Nazionale</c:v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0,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1,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1,8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1,0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mtClean="0"/>
                      <a:t>1,4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/>
              <c:tx>
                <c:rich>
                  <a:bodyPr/>
                  <a:lstStyle/>
                  <a:p>
                    <a:r>
                      <a:rPr lang="en-US" smtClean="0"/>
                      <a:t>2,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/>
              <c:tx>
                <c:rich>
                  <a:bodyPr/>
                  <a:lstStyle/>
                  <a:p>
                    <a:r>
                      <a:rPr lang="en-US" smtClean="0"/>
                      <a:t>1,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(grafico!$B$1:$M$1,grafico!$O$1:$P$1)</c:f>
              <c:strCache>
                <c:ptCount val="14"/>
                <c:pt idx="0">
                  <c:v>ge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g</c:v>
                </c:pt>
                <c:pt idx="5">
                  <c:v>giu</c:v>
                </c:pt>
                <c:pt idx="6">
                  <c:v>lug</c:v>
                </c:pt>
                <c:pt idx="7">
                  <c:v>ago</c:v>
                </c:pt>
                <c:pt idx="8">
                  <c:v>set</c:v>
                </c:pt>
                <c:pt idx="9">
                  <c:v>ott</c:v>
                </c:pt>
                <c:pt idx="10">
                  <c:v>nov</c:v>
                </c:pt>
                <c:pt idx="11">
                  <c:v>dic</c:v>
                </c:pt>
                <c:pt idx="12">
                  <c:v>Tot. 2017</c:v>
                </c:pt>
                <c:pt idx="13">
                  <c:v>Tot. 2018</c:v>
                </c:pt>
              </c:strCache>
            </c:strRef>
          </c:cat>
          <c:val>
            <c:numRef>
              <c:f>(grafico!$B$6:$G$6,grafico!$O$6:$P$6)</c:f>
              <c:numCache>
                <c:formatCode>0.0%</c:formatCode>
                <c:ptCount val="8"/>
                <c:pt idx="0">
                  <c:v>8.709340243223113E-3</c:v>
                </c:pt>
                <c:pt idx="1">
                  <c:v>1.1311192986103799E-2</c:v>
                </c:pt>
                <c:pt idx="2">
                  <c:v>1.8159447138369075E-2</c:v>
                </c:pt>
                <c:pt idx="3">
                  <c:v>1.0165048010833868E-2</c:v>
                </c:pt>
                <c:pt idx="4">
                  <c:v>1.4212344626653771E-2</c:v>
                </c:pt>
                <c:pt idx="5">
                  <c:v>0</c:v>
                </c:pt>
                <c:pt idx="6">
                  <c:v>2.2466535468568957E-2</c:v>
                </c:pt>
                <c:pt idx="7">
                  <c:v>1.2817639076404751E-2</c:v>
                </c:pt>
              </c:numCache>
            </c:numRef>
          </c:val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137707584"/>
        <c:axId val="137707976"/>
      </c:barChart>
      <c:catAx>
        <c:axId val="13770758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37707976"/>
        <c:crosses val="autoZero"/>
        <c:auto val="1"/>
        <c:lblAlgn val="ctr"/>
        <c:lblOffset val="100"/>
        <c:noMultiLvlLbl val="0"/>
      </c:catAx>
      <c:valAx>
        <c:axId val="137707976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1377075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300" b="0" i="0" u="none" strike="noStrike" kern="1200" baseline="0">
              <a:solidFill>
                <a:sysClr val="windowText" lastClr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it-IT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1843648861802866E-2"/>
          <c:y val="2.8842652766938166E-2"/>
          <c:w val="0.92480071954062748"/>
          <c:h val="0.81062329866426741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'trend storico'!$C$30</c:f>
              <c:strCache>
                <c:ptCount val="1"/>
                <c:pt idx="0">
                  <c:v>&lt; 15" - Nazional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2.4282966541035777E-3"/>
                  <c:y val="1.1760491933043181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en-US" smtClean="0"/>
                      <a:t>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/>
              <c:tx>
                <c:rich>
                  <a:bodyPr/>
                  <a:lstStyle/>
                  <a:p>
                    <a:r>
                      <a:rPr lang="en-US" smtClean="0"/>
                      <a:t>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3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trend storico'!$B$31:$B$37</c:f>
              <c:numCache>
                <c:formatCode>General</c:formatCode>
                <c:ptCount val="7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</c:numCache>
            </c:numRef>
          </c:cat>
          <c:val>
            <c:numRef>
              <c:f>'trend storico'!$C$31:$C$37</c:f>
              <c:numCache>
                <c:formatCode>0%</c:formatCode>
                <c:ptCount val="7"/>
                <c:pt idx="0">
                  <c:v>1.657867670086114E-2</c:v>
                </c:pt>
                <c:pt idx="1">
                  <c:v>8.756848631057048E-3</c:v>
                </c:pt>
                <c:pt idx="2">
                  <c:v>1.0717249681160496E-2</c:v>
                </c:pt>
                <c:pt idx="3">
                  <c:v>7.8260476197656702E-3</c:v>
                </c:pt>
                <c:pt idx="4">
                  <c:v>1.3702972669996495E-2</c:v>
                </c:pt>
                <c:pt idx="5">
                  <c:v>9.3346498834999559E-3</c:v>
                </c:pt>
                <c:pt idx="6">
                  <c:v>1.4059612488638613E-2</c:v>
                </c:pt>
              </c:numCache>
            </c:numRef>
          </c:val>
        </c:ser>
        <c:ser>
          <c:idx val="1"/>
          <c:order val="1"/>
          <c:tx>
            <c:strRef>
              <c:f>'trend storico'!$D$30</c:f>
              <c:strCache>
                <c:ptCount val="1"/>
                <c:pt idx="0">
                  <c:v>15" - Nazionale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17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14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1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17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2.4282966541035777E-3"/>
                  <c:y val="-1.4112590319652023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en-US" smtClean="0"/>
                      <a:t>16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/>
              <c:tx>
                <c:rich>
                  <a:bodyPr/>
                  <a:lstStyle/>
                  <a:p>
                    <a:r>
                      <a:rPr lang="en-US" smtClean="0"/>
                      <a:t>18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3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trend storico'!$B$31:$B$37</c:f>
              <c:numCache>
                <c:formatCode>General</c:formatCode>
                <c:ptCount val="7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</c:numCache>
            </c:numRef>
          </c:cat>
          <c:val>
            <c:numRef>
              <c:f>'trend storico'!$D$31:$D$37</c:f>
              <c:numCache>
                <c:formatCode>0%</c:formatCode>
                <c:ptCount val="7"/>
                <c:pt idx="0">
                  <c:v>0.1658980460981577</c:v>
                </c:pt>
                <c:pt idx="1">
                  <c:v>0.13785378882522725</c:v>
                </c:pt>
                <c:pt idx="2">
                  <c:v>0.13391259157521299</c:v>
                </c:pt>
                <c:pt idx="3">
                  <c:v>0.16554013299757225</c:v>
                </c:pt>
                <c:pt idx="4">
                  <c:v>1.3321173350128787E-2</c:v>
                </c:pt>
                <c:pt idx="5">
                  <c:v>0.15561452094620737</c:v>
                </c:pt>
                <c:pt idx="6">
                  <c:v>0.18301928217443095</c:v>
                </c:pt>
              </c:numCache>
            </c:numRef>
          </c:val>
        </c:ser>
        <c:ser>
          <c:idx val="2"/>
          <c:order val="2"/>
          <c:tx>
            <c:strRef>
              <c:f>'trend storico'!$E$30</c:f>
              <c:strCache>
                <c:ptCount val="1"/>
                <c:pt idx="0">
                  <c:v>20" - Nazionale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16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1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1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1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mtClean="0"/>
                      <a:t>1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en-US" smtClean="0"/>
                      <a:t>15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/>
              <c:tx>
                <c:rich>
                  <a:bodyPr/>
                  <a:lstStyle/>
                  <a:p>
                    <a:r>
                      <a:rPr lang="en-US" smtClean="0"/>
                      <a:t>14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3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trend storico'!$B$31:$B$37</c:f>
              <c:numCache>
                <c:formatCode>General</c:formatCode>
                <c:ptCount val="7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</c:numCache>
            </c:numRef>
          </c:cat>
          <c:val>
            <c:numRef>
              <c:f>'trend storico'!$E$31:$E$37</c:f>
              <c:numCache>
                <c:formatCode>0%</c:formatCode>
                <c:ptCount val="7"/>
                <c:pt idx="0">
                  <c:v>0.15841055307297205</c:v>
                </c:pt>
                <c:pt idx="1">
                  <c:v>0.11516535274774192</c:v>
                </c:pt>
                <c:pt idx="2">
                  <c:v>0.13143346528825478</c:v>
                </c:pt>
                <c:pt idx="3">
                  <c:v>0.11443144291810546</c:v>
                </c:pt>
                <c:pt idx="4">
                  <c:v>0.10875010189443528</c:v>
                </c:pt>
                <c:pt idx="5">
                  <c:v>0.1476798244382794</c:v>
                </c:pt>
                <c:pt idx="6">
                  <c:v>0.14212860613606523</c:v>
                </c:pt>
              </c:numCache>
            </c:numRef>
          </c:val>
        </c:ser>
        <c:ser>
          <c:idx val="3"/>
          <c:order val="3"/>
          <c:tx>
            <c:strRef>
              <c:f>'trend storico'!$F$30</c:f>
              <c:strCache>
                <c:ptCount val="1"/>
                <c:pt idx="0">
                  <c:v>25" e 30" - Nazionale</c:v>
                </c:pt>
              </c:strCache>
            </c:strRef>
          </c:tx>
          <c:spPr>
            <a:solidFill>
              <a:srgbClr val="00467A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6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7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7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70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mtClean="0"/>
                      <a:t>84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en-US" smtClean="0"/>
                      <a:t>67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/>
              <c:tx>
                <c:rich>
                  <a:bodyPr/>
                  <a:lstStyle/>
                  <a:p>
                    <a:r>
                      <a:rPr lang="en-US" smtClean="0"/>
                      <a:t>65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3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trend storico'!$B$31:$B$37</c:f>
              <c:numCache>
                <c:formatCode>General</c:formatCode>
                <c:ptCount val="7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</c:numCache>
            </c:numRef>
          </c:cat>
          <c:val>
            <c:numRef>
              <c:f>'trend storico'!$F$31:$F$37</c:f>
              <c:numCache>
                <c:formatCode>0%</c:formatCode>
                <c:ptCount val="7"/>
                <c:pt idx="0">
                  <c:v>0.61457056604493454</c:v>
                </c:pt>
                <c:pt idx="1">
                  <c:v>0.71059581295225116</c:v>
                </c:pt>
                <c:pt idx="2">
                  <c:v>0.71394727282851078</c:v>
                </c:pt>
                <c:pt idx="3">
                  <c:v>0.69544950766771718</c:v>
                </c:pt>
                <c:pt idx="4">
                  <c:v>0.84157139682117232</c:v>
                </c:pt>
                <c:pt idx="5">
                  <c:v>0.66580366721875528</c:v>
                </c:pt>
                <c:pt idx="6">
                  <c:v>0.64658015457421147</c:v>
                </c:pt>
              </c:numCache>
            </c:numRef>
          </c:val>
        </c:ser>
        <c:ser>
          <c:idx val="4"/>
          <c:order val="4"/>
          <c:tx>
            <c:strRef>
              <c:f>'trend storico'!$G$30</c:f>
              <c:strCache>
                <c:ptCount val="1"/>
                <c:pt idx="0">
                  <c:v>&gt; 30" - Nazionale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4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mtClean="0"/>
                      <a:t>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en-US" smtClean="0"/>
                      <a:t>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/>
              <c:tx>
                <c:rich>
                  <a:bodyPr/>
                  <a:lstStyle/>
                  <a:p>
                    <a:r>
                      <a:rPr lang="en-US" smtClean="0"/>
                      <a:t>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3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trend storico'!$B$31:$B$37</c:f>
              <c:numCache>
                <c:formatCode>General</c:formatCode>
                <c:ptCount val="7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</c:numCache>
            </c:numRef>
          </c:cat>
          <c:val>
            <c:numRef>
              <c:f>'trend storico'!$G$31:$G$37</c:f>
              <c:numCache>
                <c:formatCode>0%</c:formatCode>
                <c:ptCount val="7"/>
                <c:pt idx="0">
                  <c:v>4.4542158083074608E-2</c:v>
                </c:pt>
                <c:pt idx="1">
                  <c:v>2.7628196843722627E-2</c:v>
                </c:pt>
                <c:pt idx="2">
                  <c:v>9.9894206268610012E-3</c:v>
                </c:pt>
                <c:pt idx="3">
                  <c:v>1.6752868796839421E-2</c:v>
                </c:pt>
                <c:pt idx="4">
                  <c:v>2.2654355264267137E-2</c:v>
                </c:pt>
                <c:pt idx="5">
                  <c:v>2.156733751325806E-2</c:v>
                </c:pt>
                <c:pt idx="6">
                  <c:v>1.4212344626653771E-2</c:v>
                </c:pt>
              </c:numCache>
            </c:numRef>
          </c:val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37708760"/>
        <c:axId val="137709152"/>
      </c:barChart>
      <c:catAx>
        <c:axId val="1377087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300" b="1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  <c:crossAx val="137709152"/>
        <c:crosses val="autoZero"/>
        <c:auto val="1"/>
        <c:lblAlgn val="ctr"/>
        <c:lblOffset val="100"/>
        <c:noMultiLvlLbl val="0"/>
      </c:catAx>
      <c:valAx>
        <c:axId val="1377091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3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  <c:crossAx val="1377087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300" b="0" i="0" u="none" strike="noStrike" kern="1200" baseline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it-IT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300" b="1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cs typeface="Arial" panose="020B0604020202020204" pitchFamily="34" charset="0"/>
        </a:defRPr>
      </a:pPr>
      <a:endParaRPr lang="it-IT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1474211072453162E-2"/>
          <c:y val="3.2044815293610682E-2"/>
          <c:w val="0.92395959226026991"/>
          <c:h val="0.82046533098702557"/>
        </c:manualLayout>
      </c:layout>
      <c:lineChart>
        <c:grouping val="standard"/>
        <c:varyColors val="0"/>
        <c:ser>
          <c:idx val="0"/>
          <c:order val="0"/>
          <c:spPr>
            <a:ln w="28575" cap="rnd">
              <a:solidFill>
                <a:schemeClr val="accent5">
                  <a:lumMod val="25000"/>
                </a:schemeClr>
              </a:solidFill>
              <a:round/>
            </a:ln>
            <a:effectLst/>
          </c:spPr>
          <c:marker>
            <c:symbol val="none"/>
          </c:marker>
          <c:dPt>
            <c:idx val="22"/>
            <c:marker>
              <c:symbol val="none"/>
            </c:marker>
            <c:bubble3D val="0"/>
            <c:spPr>
              <a:ln w="28575" cap="rnd">
                <a:solidFill>
                  <a:srgbClr val="002060"/>
                </a:solidFill>
                <a:round/>
              </a:ln>
              <a:effectLst/>
            </c:spPr>
          </c:dPt>
          <c:trendline>
            <c:spPr>
              <a:ln w="22225" cap="rnd">
                <a:solidFill>
                  <a:srgbClr val="FFC000"/>
                </a:solidFill>
                <a:prstDash val="solid"/>
              </a:ln>
              <a:effectLst/>
            </c:spPr>
            <c:trendlineType val="linear"/>
            <c:dispRSqr val="0"/>
            <c:dispEq val="0"/>
          </c:trendline>
          <c:cat>
            <c:strRef>
              <c:f>mensile!$C$2:$C$137</c:f>
              <c:strCache>
                <c:ptCount val="136"/>
                <c:pt idx="0">
                  <c:v>Gennaio</c:v>
                </c:pt>
                <c:pt idx="1">
                  <c:v>Febbraio</c:v>
                </c:pt>
                <c:pt idx="2">
                  <c:v>Marzo</c:v>
                </c:pt>
                <c:pt idx="3">
                  <c:v>Aprile</c:v>
                </c:pt>
                <c:pt idx="4">
                  <c:v>Maggio</c:v>
                </c:pt>
                <c:pt idx="5">
                  <c:v>Giugno</c:v>
                </c:pt>
                <c:pt idx="6">
                  <c:v>Luglio</c:v>
                </c:pt>
                <c:pt idx="7">
                  <c:v>Agosto</c:v>
                </c:pt>
                <c:pt idx="8">
                  <c:v>Settembre</c:v>
                </c:pt>
                <c:pt idx="9">
                  <c:v>Ottobre</c:v>
                </c:pt>
                <c:pt idx="10">
                  <c:v>Novembre</c:v>
                </c:pt>
                <c:pt idx="11">
                  <c:v>Dicembre</c:v>
                </c:pt>
                <c:pt idx="12">
                  <c:v>Gennaio</c:v>
                </c:pt>
                <c:pt idx="13">
                  <c:v>Febbraio</c:v>
                </c:pt>
                <c:pt idx="14">
                  <c:v>Marzo</c:v>
                </c:pt>
                <c:pt idx="15">
                  <c:v>Aprile</c:v>
                </c:pt>
                <c:pt idx="16">
                  <c:v>Maggio</c:v>
                </c:pt>
                <c:pt idx="17">
                  <c:v>Giugno</c:v>
                </c:pt>
                <c:pt idx="18">
                  <c:v>Luglio</c:v>
                </c:pt>
                <c:pt idx="19">
                  <c:v>Agosto</c:v>
                </c:pt>
                <c:pt idx="20">
                  <c:v>Settembre</c:v>
                </c:pt>
                <c:pt idx="21">
                  <c:v>Ottobre</c:v>
                </c:pt>
                <c:pt idx="22">
                  <c:v>Novembre</c:v>
                </c:pt>
                <c:pt idx="23">
                  <c:v>Dicembre</c:v>
                </c:pt>
                <c:pt idx="24">
                  <c:v>Gennaio</c:v>
                </c:pt>
                <c:pt idx="25">
                  <c:v>Febbraio</c:v>
                </c:pt>
                <c:pt idx="26">
                  <c:v>Marzo</c:v>
                </c:pt>
                <c:pt idx="27">
                  <c:v>Aprile</c:v>
                </c:pt>
                <c:pt idx="28">
                  <c:v>Maggio</c:v>
                </c:pt>
                <c:pt idx="29">
                  <c:v>Giugno</c:v>
                </c:pt>
                <c:pt idx="30">
                  <c:v>Luglio</c:v>
                </c:pt>
                <c:pt idx="31">
                  <c:v>Agosto</c:v>
                </c:pt>
                <c:pt idx="32">
                  <c:v>Settembre</c:v>
                </c:pt>
                <c:pt idx="33">
                  <c:v>Ottobre</c:v>
                </c:pt>
                <c:pt idx="34">
                  <c:v>Novembre</c:v>
                </c:pt>
                <c:pt idx="35">
                  <c:v>Dicembre</c:v>
                </c:pt>
                <c:pt idx="36">
                  <c:v>Gennaio</c:v>
                </c:pt>
                <c:pt idx="37">
                  <c:v>Febbraio</c:v>
                </c:pt>
                <c:pt idx="38">
                  <c:v>Marzo</c:v>
                </c:pt>
                <c:pt idx="39">
                  <c:v>Aprile</c:v>
                </c:pt>
                <c:pt idx="40">
                  <c:v>Maggio</c:v>
                </c:pt>
                <c:pt idx="41">
                  <c:v>Giugno</c:v>
                </c:pt>
                <c:pt idx="42">
                  <c:v>Luglio</c:v>
                </c:pt>
                <c:pt idx="43">
                  <c:v>Agosto</c:v>
                </c:pt>
                <c:pt idx="44">
                  <c:v>Settembre</c:v>
                </c:pt>
                <c:pt idx="45">
                  <c:v>Ottobre</c:v>
                </c:pt>
                <c:pt idx="46">
                  <c:v>Novembre</c:v>
                </c:pt>
                <c:pt idx="47">
                  <c:v>Dicembre</c:v>
                </c:pt>
                <c:pt idx="48">
                  <c:v>Gennaio</c:v>
                </c:pt>
                <c:pt idx="49">
                  <c:v>Febbraio</c:v>
                </c:pt>
                <c:pt idx="50">
                  <c:v>Marzo</c:v>
                </c:pt>
                <c:pt idx="51">
                  <c:v>Aprile</c:v>
                </c:pt>
                <c:pt idx="52">
                  <c:v>Maggio</c:v>
                </c:pt>
                <c:pt idx="53">
                  <c:v>Giugno</c:v>
                </c:pt>
                <c:pt idx="54">
                  <c:v>Luglio</c:v>
                </c:pt>
                <c:pt idx="55">
                  <c:v>Agosto</c:v>
                </c:pt>
                <c:pt idx="56">
                  <c:v>Settembre</c:v>
                </c:pt>
                <c:pt idx="57">
                  <c:v>Ottobre</c:v>
                </c:pt>
                <c:pt idx="58">
                  <c:v>Novembre</c:v>
                </c:pt>
                <c:pt idx="59">
                  <c:v>Dicembre</c:v>
                </c:pt>
                <c:pt idx="60">
                  <c:v>Gennaio</c:v>
                </c:pt>
                <c:pt idx="61">
                  <c:v>Febbraio</c:v>
                </c:pt>
                <c:pt idx="62">
                  <c:v>Marzo</c:v>
                </c:pt>
                <c:pt idx="63">
                  <c:v>Aprile</c:v>
                </c:pt>
                <c:pt idx="64">
                  <c:v>Maggio</c:v>
                </c:pt>
                <c:pt idx="65">
                  <c:v>Giugno</c:v>
                </c:pt>
                <c:pt idx="66">
                  <c:v>Luglio</c:v>
                </c:pt>
                <c:pt idx="67">
                  <c:v>Agosto</c:v>
                </c:pt>
                <c:pt idx="68">
                  <c:v>Settembre</c:v>
                </c:pt>
                <c:pt idx="69">
                  <c:v>Ottobre</c:v>
                </c:pt>
                <c:pt idx="70">
                  <c:v>Novembre</c:v>
                </c:pt>
                <c:pt idx="71">
                  <c:v>Dicembre</c:v>
                </c:pt>
                <c:pt idx="72">
                  <c:v>Gennaio</c:v>
                </c:pt>
                <c:pt idx="73">
                  <c:v>Febbraio</c:v>
                </c:pt>
                <c:pt idx="74">
                  <c:v>Marzo</c:v>
                </c:pt>
                <c:pt idx="75">
                  <c:v>Aprile</c:v>
                </c:pt>
                <c:pt idx="76">
                  <c:v>Maggio</c:v>
                </c:pt>
                <c:pt idx="77">
                  <c:v>Giugno</c:v>
                </c:pt>
                <c:pt idx="78">
                  <c:v>Luglio</c:v>
                </c:pt>
                <c:pt idx="79">
                  <c:v>Agosto</c:v>
                </c:pt>
                <c:pt idx="80">
                  <c:v>Settembre</c:v>
                </c:pt>
                <c:pt idx="81">
                  <c:v>Ottobre</c:v>
                </c:pt>
                <c:pt idx="82">
                  <c:v>Novembre</c:v>
                </c:pt>
                <c:pt idx="83">
                  <c:v>Dicembre</c:v>
                </c:pt>
                <c:pt idx="84">
                  <c:v>Gennaio</c:v>
                </c:pt>
                <c:pt idx="85">
                  <c:v>Febbraio</c:v>
                </c:pt>
                <c:pt idx="86">
                  <c:v>Marzo</c:v>
                </c:pt>
                <c:pt idx="87">
                  <c:v>Aprile</c:v>
                </c:pt>
                <c:pt idx="88">
                  <c:v>Maggio</c:v>
                </c:pt>
                <c:pt idx="89">
                  <c:v>Giugno</c:v>
                </c:pt>
                <c:pt idx="90">
                  <c:v>Luglio</c:v>
                </c:pt>
                <c:pt idx="91">
                  <c:v>Agosto</c:v>
                </c:pt>
                <c:pt idx="92">
                  <c:v>Settembre</c:v>
                </c:pt>
                <c:pt idx="93">
                  <c:v>Ottobre</c:v>
                </c:pt>
                <c:pt idx="94">
                  <c:v>Novembre</c:v>
                </c:pt>
                <c:pt idx="95">
                  <c:v>Dicembre</c:v>
                </c:pt>
                <c:pt idx="96">
                  <c:v>Gennaio</c:v>
                </c:pt>
                <c:pt idx="97">
                  <c:v>Febbraio</c:v>
                </c:pt>
                <c:pt idx="98">
                  <c:v>Marzo</c:v>
                </c:pt>
                <c:pt idx="99">
                  <c:v>Aprile</c:v>
                </c:pt>
                <c:pt idx="100">
                  <c:v>Maggio</c:v>
                </c:pt>
                <c:pt idx="101">
                  <c:v>Giugno</c:v>
                </c:pt>
                <c:pt idx="102">
                  <c:v>Luglio</c:v>
                </c:pt>
                <c:pt idx="103">
                  <c:v>Agosto</c:v>
                </c:pt>
                <c:pt idx="104">
                  <c:v>Settembre</c:v>
                </c:pt>
                <c:pt idx="105">
                  <c:v>Ottobre</c:v>
                </c:pt>
                <c:pt idx="106">
                  <c:v>Novembre</c:v>
                </c:pt>
                <c:pt idx="107">
                  <c:v>Dicembre</c:v>
                </c:pt>
                <c:pt idx="108">
                  <c:v>Gennaio</c:v>
                </c:pt>
                <c:pt idx="109">
                  <c:v>Febbraio</c:v>
                </c:pt>
                <c:pt idx="110">
                  <c:v>Marzo</c:v>
                </c:pt>
                <c:pt idx="111">
                  <c:v>Aprile</c:v>
                </c:pt>
                <c:pt idx="112">
                  <c:v>Maggio</c:v>
                </c:pt>
                <c:pt idx="113">
                  <c:v>Giugno</c:v>
                </c:pt>
                <c:pt idx="114">
                  <c:v>Luglio</c:v>
                </c:pt>
                <c:pt idx="115">
                  <c:v>Agosto</c:v>
                </c:pt>
                <c:pt idx="116">
                  <c:v>Settembre</c:v>
                </c:pt>
                <c:pt idx="117">
                  <c:v>Ottobre</c:v>
                </c:pt>
                <c:pt idx="118">
                  <c:v>Novembre</c:v>
                </c:pt>
                <c:pt idx="119">
                  <c:v>Dicembre</c:v>
                </c:pt>
                <c:pt idx="120">
                  <c:v>Gennaio</c:v>
                </c:pt>
                <c:pt idx="121">
                  <c:v>Febbraio</c:v>
                </c:pt>
                <c:pt idx="122">
                  <c:v>Marzo</c:v>
                </c:pt>
                <c:pt idx="123">
                  <c:v>Aprile</c:v>
                </c:pt>
                <c:pt idx="124">
                  <c:v>Maggio</c:v>
                </c:pt>
                <c:pt idx="125">
                  <c:v>Giugno</c:v>
                </c:pt>
                <c:pt idx="126">
                  <c:v>Luglio</c:v>
                </c:pt>
                <c:pt idx="127">
                  <c:v>Agosto</c:v>
                </c:pt>
                <c:pt idx="128">
                  <c:v>Settembre</c:v>
                </c:pt>
                <c:pt idx="129">
                  <c:v>Ottobre</c:v>
                </c:pt>
                <c:pt idx="130">
                  <c:v>Novembre</c:v>
                </c:pt>
                <c:pt idx="131">
                  <c:v>Dicembre</c:v>
                </c:pt>
                <c:pt idx="132">
                  <c:v>Gennaio</c:v>
                </c:pt>
                <c:pt idx="133">
                  <c:v>Febbraio</c:v>
                </c:pt>
                <c:pt idx="134">
                  <c:v>Marzo</c:v>
                </c:pt>
                <c:pt idx="135">
                  <c:v>Aprile</c:v>
                </c:pt>
              </c:strCache>
            </c:strRef>
          </c:cat>
          <c:val>
            <c:numRef>
              <c:f>mensile!$D$2:$D$137</c:f>
              <c:numCache>
                <c:formatCode>#,##0</c:formatCode>
                <c:ptCount val="136"/>
                <c:pt idx="0">
                  <c:v>23659</c:v>
                </c:pt>
                <c:pt idx="1">
                  <c:v>27916</c:v>
                </c:pt>
                <c:pt idx="2">
                  <c:v>38195</c:v>
                </c:pt>
                <c:pt idx="3">
                  <c:v>33986</c:v>
                </c:pt>
                <c:pt idx="4">
                  <c:v>43187</c:v>
                </c:pt>
                <c:pt idx="5">
                  <c:v>44366</c:v>
                </c:pt>
                <c:pt idx="6">
                  <c:v>31941</c:v>
                </c:pt>
                <c:pt idx="7">
                  <c:v>13240</c:v>
                </c:pt>
                <c:pt idx="8">
                  <c:v>28194</c:v>
                </c:pt>
                <c:pt idx="9">
                  <c:v>42806</c:v>
                </c:pt>
                <c:pt idx="10">
                  <c:v>40158</c:v>
                </c:pt>
                <c:pt idx="11">
                  <c:v>30806</c:v>
                </c:pt>
                <c:pt idx="12">
                  <c:v>27131</c:v>
                </c:pt>
                <c:pt idx="13">
                  <c:v>33878</c:v>
                </c:pt>
                <c:pt idx="14">
                  <c:v>37933</c:v>
                </c:pt>
                <c:pt idx="15">
                  <c:v>35399</c:v>
                </c:pt>
                <c:pt idx="16">
                  <c:v>46518</c:v>
                </c:pt>
                <c:pt idx="17">
                  <c:v>43004</c:v>
                </c:pt>
                <c:pt idx="18">
                  <c:v>30568</c:v>
                </c:pt>
                <c:pt idx="19">
                  <c:v>12154</c:v>
                </c:pt>
                <c:pt idx="20">
                  <c:v>31166</c:v>
                </c:pt>
                <c:pt idx="21">
                  <c:v>41813</c:v>
                </c:pt>
                <c:pt idx="22">
                  <c:v>35477</c:v>
                </c:pt>
                <c:pt idx="23">
                  <c:v>26918</c:v>
                </c:pt>
                <c:pt idx="24">
                  <c:v>18749</c:v>
                </c:pt>
                <c:pt idx="25">
                  <c:v>25655</c:v>
                </c:pt>
                <c:pt idx="26">
                  <c:v>34670</c:v>
                </c:pt>
                <c:pt idx="27">
                  <c:v>29170</c:v>
                </c:pt>
                <c:pt idx="28">
                  <c:v>39072</c:v>
                </c:pt>
                <c:pt idx="29">
                  <c:v>37495</c:v>
                </c:pt>
                <c:pt idx="30">
                  <c:v>27821</c:v>
                </c:pt>
                <c:pt idx="31">
                  <c:v>11961</c:v>
                </c:pt>
                <c:pt idx="32">
                  <c:v>31360</c:v>
                </c:pt>
                <c:pt idx="33">
                  <c:v>38767</c:v>
                </c:pt>
                <c:pt idx="34">
                  <c:v>42613</c:v>
                </c:pt>
                <c:pt idx="35">
                  <c:v>33516</c:v>
                </c:pt>
                <c:pt idx="36">
                  <c:v>20032</c:v>
                </c:pt>
                <c:pt idx="37">
                  <c:v>29234</c:v>
                </c:pt>
                <c:pt idx="38">
                  <c:v>39702</c:v>
                </c:pt>
                <c:pt idx="39">
                  <c:v>34320</c:v>
                </c:pt>
                <c:pt idx="40">
                  <c:v>45289</c:v>
                </c:pt>
                <c:pt idx="41">
                  <c:v>43390</c:v>
                </c:pt>
                <c:pt idx="42">
                  <c:v>28792</c:v>
                </c:pt>
                <c:pt idx="43">
                  <c:v>12421</c:v>
                </c:pt>
                <c:pt idx="44">
                  <c:v>31185</c:v>
                </c:pt>
                <c:pt idx="45">
                  <c:v>40420</c:v>
                </c:pt>
                <c:pt idx="46">
                  <c:v>42885</c:v>
                </c:pt>
                <c:pt idx="47">
                  <c:v>31786</c:v>
                </c:pt>
                <c:pt idx="48">
                  <c:v>20138</c:v>
                </c:pt>
                <c:pt idx="49">
                  <c:v>29586</c:v>
                </c:pt>
                <c:pt idx="50">
                  <c:v>34791</c:v>
                </c:pt>
                <c:pt idx="51">
                  <c:v>29973</c:v>
                </c:pt>
                <c:pt idx="52">
                  <c:v>40011</c:v>
                </c:pt>
                <c:pt idx="53">
                  <c:v>38952</c:v>
                </c:pt>
                <c:pt idx="54">
                  <c:v>31306</c:v>
                </c:pt>
                <c:pt idx="55">
                  <c:v>14388</c:v>
                </c:pt>
                <c:pt idx="56">
                  <c:v>29299</c:v>
                </c:pt>
                <c:pt idx="57">
                  <c:v>38831</c:v>
                </c:pt>
                <c:pt idx="58">
                  <c:v>34041</c:v>
                </c:pt>
                <c:pt idx="59">
                  <c:v>26880</c:v>
                </c:pt>
                <c:pt idx="60">
                  <c:v>19286</c:v>
                </c:pt>
                <c:pt idx="61">
                  <c:v>27927</c:v>
                </c:pt>
                <c:pt idx="62">
                  <c:v>33898</c:v>
                </c:pt>
                <c:pt idx="63">
                  <c:v>29992</c:v>
                </c:pt>
                <c:pt idx="64">
                  <c:v>34979</c:v>
                </c:pt>
                <c:pt idx="65">
                  <c:v>36773</c:v>
                </c:pt>
                <c:pt idx="66">
                  <c:v>27562</c:v>
                </c:pt>
                <c:pt idx="67">
                  <c:v>11027</c:v>
                </c:pt>
                <c:pt idx="68">
                  <c:v>25490</c:v>
                </c:pt>
                <c:pt idx="69">
                  <c:v>33011</c:v>
                </c:pt>
                <c:pt idx="70">
                  <c:v>26688</c:v>
                </c:pt>
                <c:pt idx="71">
                  <c:v>24057</c:v>
                </c:pt>
                <c:pt idx="72">
                  <c:v>18863</c:v>
                </c:pt>
                <c:pt idx="73">
                  <c:v>20190</c:v>
                </c:pt>
                <c:pt idx="74">
                  <c:v>26443</c:v>
                </c:pt>
                <c:pt idx="75">
                  <c:v>26276</c:v>
                </c:pt>
                <c:pt idx="76">
                  <c:v>32986</c:v>
                </c:pt>
                <c:pt idx="77">
                  <c:v>31747</c:v>
                </c:pt>
                <c:pt idx="78">
                  <c:v>26789</c:v>
                </c:pt>
                <c:pt idx="79">
                  <c:v>10189</c:v>
                </c:pt>
                <c:pt idx="80">
                  <c:v>23465</c:v>
                </c:pt>
                <c:pt idx="81">
                  <c:v>30022</c:v>
                </c:pt>
                <c:pt idx="82">
                  <c:v>30503</c:v>
                </c:pt>
                <c:pt idx="83">
                  <c:v>22497</c:v>
                </c:pt>
                <c:pt idx="84">
                  <c:v>19713</c:v>
                </c:pt>
                <c:pt idx="85">
                  <c:v>21986</c:v>
                </c:pt>
                <c:pt idx="86">
                  <c:v>27066</c:v>
                </c:pt>
                <c:pt idx="87">
                  <c:v>23506</c:v>
                </c:pt>
                <c:pt idx="88">
                  <c:v>30901</c:v>
                </c:pt>
                <c:pt idx="89">
                  <c:v>27385</c:v>
                </c:pt>
                <c:pt idx="90">
                  <c:v>23730</c:v>
                </c:pt>
                <c:pt idx="91">
                  <c:v>9897</c:v>
                </c:pt>
                <c:pt idx="92">
                  <c:v>24093</c:v>
                </c:pt>
                <c:pt idx="93" formatCode="General">
                  <c:v>30202</c:v>
                </c:pt>
                <c:pt idx="94">
                  <c:v>29939</c:v>
                </c:pt>
                <c:pt idx="95">
                  <c:v>23625</c:v>
                </c:pt>
                <c:pt idx="96" formatCode="General">
                  <c:v>19861</c:v>
                </c:pt>
                <c:pt idx="97" formatCode="General">
                  <c:v>24262</c:v>
                </c:pt>
                <c:pt idx="98" formatCode="General">
                  <c:v>29307</c:v>
                </c:pt>
                <c:pt idx="99" formatCode="General">
                  <c:v>25689</c:v>
                </c:pt>
                <c:pt idx="100">
                  <c:v>31416</c:v>
                </c:pt>
                <c:pt idx="101">
                  <c:v>32125</c:v>
                </c:pt>
                <c:pt idx="102">
                  <c:v>29615</c:v>
                </c:pt>
                <c:pt idx="103">
                  <c:v>11291</c:v>
                </c:pt>
                <c:pt idx="104">
                  <c:v>26798</c:v>
                </c:pt>
                <c:pt idx="105">
                  <c:v>33229</c:v>
                </c:pt>
                <c:pt idx="106">
                  <c:v>30972</c:v>
                </c:pt>
                <c:pt idx="107">
                  <c:v>25019</c:v>
                </c:pt>
                <c:pt idx="108">
                  <c:v>19229</c:v>
                </c:pt>
                <c:pt idx="109">
                  <c:v>25755</c:v>
                </c:pt>
                <c:pt idx="110">
                  <c:v>29638</c:v>
                </c:pt>
                <c:pt idx="111">
                  <c:v>26617</c:v>
                </c:pt>
                <c:pt idx="112">
                  <c:v>31781</c:v>
                </c:pt>
                <c:pt idx="113">
                  <c:v>30602</c:v>
                </c:pt>
                <c:pt idx="114">
                  <c:v>30426</c:v>
                </c:pt>
                <c:pt idx="115">
                  <c:v>12086</c:v>
                </c:pt>
                <c:pt idx="116">
                  <c:v>25578</c:v>
                </c:pt>
                <c:pt idx="117">
                  <c:v>32325</c:v>
                </c:pt>
                <c:pt idx="118">
                  <c:v>34046</c:v>
                </c:pt>
                <c:pt idx="119">
                  <c:v>28769</c:v>
                </c:pt>
                <c:pt idx="120">
                  <c:v>19971</c:v>
                </c:pt>
                <c:pt idx="121">
                  <c:v>24839</c:v>
                </c:pt>
                <c:pt idx="122">
                  <c:v>29742</c:v>
                </c:pt>
                <c:pt idx="123">
                  <c:v>27477</c:v>
                </c:pt>
                <c:pt idx="124">
                  <c:v>36475</c:v>
                </c:pt>
                <c:pt idx="125">
                  <c:v>33328</c:v>
                </c:pt>
                <c:pt idx="126">
                  <c:v>28882</c:v>
                </c:pt>
                <c:pt idx="127">
                  <c:v>12051</c:v>
                </c:pt>
                <c:pt idx="128">
                  <c:v>28561</c:v>
                </c:pt>
                <c:pt idx="129">
                  <c:v>37024</c:v>
                </c:pt>
                <c:pt idx="130">
                  <c:v>37126</c:v>
                </c:pt>
                <c:pt idx="131">
                  <c:v>28876</c:v>
                </c:pt>
                <c:pt idx="132">
                  <c:v>21033</c:v>
                </c:pt>
                <c:pt idx="133">
                  <c:v>26058</c:v>
                </c:pt>
                <c:pt idx="134">
                  <c:v>32717</c:v>
                </c:pt>
                <c:pt idx="135">
                  <c:v>3252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37709936"/>
        <c:axId val="196764184"/>
      </c:lineChart>
      <c:catAx>
        <c:axId val="13770993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one"/>
        <c:spPr>
          <a:noFill/>
          <a:ln w="952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  <c:crossAx val="196764184"/>
        <c:crosses val="autoZero"/>
        <c:auto val="1"/>
        <c:lblAlgn val="ctr"/>
        <c:lblOffset val="100"/>
        <c:noMultiLvlLbl val="0"/>
      </c:catAx>
      <c:valAx>
        <c:axId val="196764184"/>
        <c:scaling>
          <c:orientation val="minMax"/>
          <c:min val="5000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50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  <c:crossAx val="1377099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1474211072453162E-2"/>
          <c:y val="3.2044815293610682E-2"/>
          <c:w val="0.92395959226026991"/>
          <c:h val="0.76537438790300472"/>
        </c:manualLayout>
      </c:layout>
      <c:lineChart>
        <c:grouping val="standar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96765360"/>
        <c:axId val="196765752"/>
      </c:lineChart>
      <c:catAx>
        <c:axId val="19676536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pPr>
            <a:endParaRPr lang="it-IT"/>
          </a:p>
        </c:txPr>
        <c:crossAx val="196765752"/>
        <c:crosses val="autoZero"/>
        <c:auto val="1"/>
        <c:lblAlgn val="ctr"/>
        <c:lblOffset val="100"/>
        <c:noMultiLvlLbl val="0"/>
      </c:catAx>
      <c:valAx>
        <c:axId val="196765752"/>
        <c:scaling>
          <c:orientation val="minMax"/>
          <c:min val="5000"/>
        </c:scaling>
        <c:delete val="0"/>
        <c:axPos val="l"/>
        <c:majorGridlines/>
        <c:numFmt formatCode="#,##0" sourceLinked="1"/>
        <c:majorTickMark val="out"/>
        <c:minorTickMark val="none"/>
        <c:tickLblPos val="nextTo"/>
        <c:txPr>
          <a:bodyPr/>
          <a:lstStyle/>
          <a:p>
            <a: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pPr>
            <a:endParaRPr lang="it-IT"/>
          </a:p>
        </c:txPr>
        <c:crossAx val="196765360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1227104756866079E-2"/>
          <c:y val="1.5323606604101288E-2"/>
          <c:w val="0.92978998629935505"/>
          <c:h val="0.80258189810017788"/>
        </c:manualLayout>
      </c:layout>
      <c:lineChart>
        <c:grouping val="standard"/>
        <c:varyColors val="0"/>
        <c:ser>
          <c:idx val="1"/>
          <c:order val="0"/>
          <c:tx>
            <c:strRef>
              <c:f>mensile!$C$13:$C$137</c:f>
              <c:strCache>
                <c:ptCount val="125"/>
                <c:pt idx="0">
                  <c:v>Dicembre</c:v>
                </c:pt>
                <c:pt idx="1">
                  <c:v>Gennaio</c:v>
                </c:pt>
                <c:pt idx="2">
                  <c:v>Febbraio</c:v>
                </c:pt>
                <c:pt idx="3">
                  <c:v>Marzo</c:v>
                </c:pt>
                <c:pt idx="4">
                  <c:v>Aprile</c:v>
                </c:pt>
                <c:pt idx="5">
                  <c:v>Maggio</c:v>
                </c:pt>
                <c:pt idx="6">
                  <c:v>Giugno</c:v>
                </c:pt>
                <c:pt idx="7">
                  <c:v>Luglio</c:v>
                </c:pt>
                <c:pt idx="8">
                  <c:v>Agosto</c:v>
                </c:pt>
                <c:pt idx="9">
                  <c:v>Settembre</c:v>
                </c:pt>
                <c:pt idx="10">
                  <c:v>Ottobre</c:v>
                </c:pt>
                <c:pt idx="11">
                  <c:v>Novembre</c:v>
                </c:pt>
                <c:pt idx="12">
                  <c:v>Dicembre</c:v>
                </c:pt>
                <c:pt idx="13">
                  <c:v>Gennaio</c:v>
                </c:pt>
                <c:pt idx="14">
                  <c:v>Febbraio</c:v>
                </c:pt>
                <c:pt idx="15">
                  <c:v>Marzo</c:v>
                </c:pt>
                <c:pt idx="16">
                  <c:v>Aprile</c:v>
                </c:pt>
                <c:pt idx="17">
                  <c:v>Maggio</c:v>
                </c:pt>
                <c:pt idx="18">
                  <c:v>Giugno</c:v>
                </c:pt>
                <c:pt idx="19">
                  <c:v>Luglio</c:v>
                </c:pt>
                <c:pt idx="20">
                  <c:v>Agosto</c:v>
                </c:pt>
                <c:pt idx="21">
                  <c:v>Settembre</c:v>
                </c:pt>
                <c:pt idx="22">
                  <c:v>Ottobre</c:v>
                </c:pt>
                <c:pt idx="23">
                  <c:v>Novembre</c:v>
                </c:pt>
                <c:pt idx="24">
                  <c:v>Dicembre</c:v>
                </c:pt>
                <c:pt idx="25">
                  <c:v>Gennaio</c:v>
                </c:pt>
                <c:pt idx="26">
                  <c:v>Febbraio</c:v>
                </c:pt>
                <c:pt idx="27">
                  <c:v>Marzo</c:v>
                </c:pt>
                <c:pt idx="28">
                  <c:v>Aprile</c:v>
                </c:pt>
                <c:pt idx="29">
                  <c:v>Maggio</c:v>
                </c:pt>
                <c:pt idx="30">
                  <c:v>Giugno</c:v>
                </c:pt>
                <c:pt idx="31">
                  <c:v>Luglio</c:v>
                </c:pt>
                <c:pt idx="32">
                  <c:v>Agosto</c:v>
                </c:pt>
                <c:pt idx="33">
                  <c:v>Settembre</c:v>
                </c:pt>
                <c:pt idx="34">
                  <c:v>Ottobre</c:v>
                </c:pt>
                <c:pt idx="35">
                  <c:v>Novembre</c:v>
                </c:pt>
                <c:pt idx="36">
                  <c:v>Dicembre</c:v>
                </c:pt>
                <c:pt idx="37">
                  <c:v>Gennaio</c:v>
                </c:pt>
                <c:pt idx="38">
                  <c:v>Febbraio</c:v>
                </c:pt>
                <c:pt idx="39">
                  <c:v>Marzo</c:v>
                </c:pt>
                <c:pt idx="40">
                  <c:v>Aprile</c:v>
                </c:pt>
                <c:pt idx="41">
                  <c:v>Maggio</c:v>
                </c:pt>
                <c:pt idx="42">
                  <c:v>Giugno</c:v>
                </c:pt>
                <c:pt idx="43">
                  <c:v>Luglio</c:v>
                </c:pt>
                <c:pt idx="44">
                  <c:v>Agosto</c:v>
                </c:pt>
                <c:pt idx="45">
                  <c:v>Settembre</c:v>
                </c:pt>
                <c:pt idx="46">
                  <c:v>Ottobre</c:v>
                </c:pt>
                <c:pt idx="47">
                  <c:v>Novembre</c:v>
                </c:pt>
                <c:pt idx="48">
                  <c:v>Dicembre</c:v>
                </c:pt>
                <c:pt idx="49">
                  <c:v>Gennaio</c:v>
                </c:pt>
                <c:pt idx="50">
                  <c:v>Febbraio</c:v>
                </c:pt>
                <c:pt idx="51">
                  <c:v>Marzo</c:v>
                </c:pt>
                <c:pt idx="52">
                  <c:v>Aprile</c:v>
                </c:pt>
                <c:pt idx="53">
                  <c:v>Maggio</c:v>
                </c:pt>
                <c:pt idx="54">
                  <c:v>Giugno</c:v>
                </c:pt>
                <c:pt idx="55">
                  <c:v>Luglio</c:v>
                </c:pt>
                <c:pt idx="56">
                  <c:v>Agosto</c:v>
                </c:pt>
                <c:pt idx="57">
                  <c:v>Settembre</c:v>
                </c:pt>
                <c:pt idx="58">
                  <c:v>Ottobre</c:v>
                </c:pt>
                <c:pt idx="59">
                  <c:v>Novembre</c:v>
                </c:pt>
                <c:pt idx="60">
                  <c:v>Dicembre</c:v>
                </c:pt>
                <c:pt idx="61">
                  <c:v>Gennaio</c:v>
                </c:pt>
                <c:pt idx="62">
                  <c:v>Febbraio</c:v>
                </c:pt>
                <c:pt idx="63">
                  <c:v>Marzo</c:v>
                </c:pt>
                <c:pt idx="64">
                  <c:v>Aprile</c:v>
                </c:pt>
                <c:pt idx="65">
                  <c:v>Maggio</c:v>
                </c:pt>
                <c:pt idx="66">
                  <c:v>Giugno</c:v>
                </c:pt>
                <c:pt idx="67">
                  <c:v>Luglio</c:v>
                </c:pt>
                <c:pt idx="68">
                  <c:v>Agosto</c:v>
                </c:pt>
                <c:pt idx="69">
                  <c:v>Settembre</c:v>
                </c:pt>
                <c:pt idx="70">
                  <c:v>Ottobre</c:v>
                </c:pt>
                <c:pt idx="71">
                  <c:v>Novembre</c:v>
                </c:pt>
                <c:pt idx="72">
                  <c:v>Dicembre</c:v>
                </c:pt>
                <c:pt idx="73">
                  <c:v>Gennaio</c:v>
                </c:pt>
                <c:pt idx="74">
                  <c:v>Febbraio</c:v>
                </c:pt>
                <c:pt idx="75">
                  <c:v>Marzo</c:v>
                </c:pt>
                <c:pt idx="76">
                  <c:v>Aprile</c:v>
                </c:pt>
                <c:pt idx="77">
                  <c:v>Maggio</c:v>
                </c:pt>
                <c:pt idx="78">
                  <c:v>Giugno</c:v>
                </c:pt>
                <c:pt idx="79">
                  <c:v>Luglio</c:v>
                </c:pt>
                <c:pt idx="80">
                  <c:v>Agosto</c:v>
                </c:pt>
                <c:pt idx="81">
                  <c:v>Settembre</c:v>
                </c:pt>
                <c:pt idx="82">
                  <c:v>Ottobre</c:v>
                </c:pt>
                <c:pt idx="83">
                  <c:v>Novembre</c:v>
                </c:pt>
                <c:pt idx="84">
                  <c:v>Dicembre</c:v>
                </c:pt>
                <c:pt idx="85">
                  <c:v>Gennaio</c:v>
                </c:pt>
                <c:pt idx="86">
                  <c:v>Febbraio</c:v>
                </c:pt>
                <c:pt idx="87">
                  <c:v>Marzo</c:v>
                </c:pt>
                <c:pt idx="88">
                  <c:v>Aprile</c:v>
                </c:pt>
                <c:pt idx="89">
                  <c:v>Maggio</c:v>
                </c:pt>
                <c:pt idx="90">
                  <c:v>Giugno</c:v>
                </c:pt>
                <c:pt idx="91">
                  <c:v>Luglio</c:v>
                </c:pt>
                <c:pt idx="92">
                  <c:v>Agosto</c:v>
                </c:pt>
                <c:pt idx="93">
                  <c:v>Settembre</c:v>
                </c:pt>
                <c:pt idx="94">
                  <c:v>Ottobre</c:v>
                </c:pt>
                <c:pt idx="95">
                  <c:v>Novembre</c:v>
                </c:pt>
                <c:pt idx="96">
                  <c:v>Dicembre</c:v>
                </c:pt>
                <c:pt idx="97">
                  <c:v>Gennaio</c:v>
                </c:pt>
                <c:pt idx="98">
                  <c:v>Febbraio</c:v>
                </c:pt>
                <c:pt idx="99">
                  <c:v>Marzo</c:v>
                </c:pt>
                <c:pt idx="100">
                  <c:v>Aprile</c:v>
                </c:pt>
                <c:pt idx="101">
                  <c:v>Maggio</c:v>
                </c:pt>
                <c:pt idx="102">
                  <c:v>Giugno</c:v>
                </c:pt>
                <c:pt idx="103">
                  <c:v>Luglio</c:v>
                </c:pt>
                <c:pt idx="104">
                  <c:v>Agosto</c:v>
                </c:pt>
                <c:pt idx="105">
                  <c:v>Settembre</c:v>
                </c:pt>
                <c:pt idx="106">
                  <c:v>Ottobre</c:v>
                </c:pt>
                <c:pt idx="107">
                  <c:v>Novembre</c:v>
                </c:pt>
                <c:pt idx="108">
                  <c:v>Dicembre</c:v>
                </c:pt>
                <c:pt idx="109">
                  <c:v>Gennaio</c:v>
                </c:pt>
                <c:pt idx="110">
                  <c:v>Febbraio</c:v>
                </c:pt>
                <c:pt idx="111">
                  <c:v>Marzo</c:v>
                </c:pt>
                <c:pt idx="112">
                  <c:v>Aprile</c:v>
                </c:pt>
                <c:pt idx="113">
                  <c:v>Maggio</c:v>
                </c:pt>
                <c:pt idx="114">
                  <c:v>Giugno</c:v>
                </c:pt>
                <c:pt idx="115">
                  <c:v>Luglio</c:v>
                </c:pt>
                <c:pt idx="116">
                  <c:v>Agosto</c:v>
                </c:pt>
                <c:pt idx="117">
                  <c:v>Settembre</c:v>
                </c:pt>
                <c:pt idx="118">
                  <c:v>Ottobre</c:v>
                </c:pt>
                <c:pt idx="119">
                  <c:v>Novembre</c:v>
                </c:pt>
                <c:pt idx="120">
                  <c:v>Dicembre</c:v>
                </c:pt>
                <c:pt idx="121">
                  <c:v>Gennaio</c:v>
                </c:pt>
                <c:pt idx="122">
                  <c:v>Febbraio</c:v>
                </c:pt>
                <c:pt idx="123">
                  <c:v>Marzo</c:v>
                </c:pt>
                <c:pt idx="124">
                  <c:v>Aprile</c:v>
                </c:pt>
              </c:strCache>
            </c:strRef>
          </c:tx>
          <c:spPr>
            <a:ln>
              <a:solidFill>
                <a:srgbClr val="002060"/>
              </a:solidFill>
            </a:ln>
          </c:spPr>
          <c:marker>
            <c:symbol val="square"/>
            <c:size val="4"/>
            <c:spPr>
              <a:noFill/>
              <a:ln>
                <a:noFill/>
              </a:ln>
            </c:spPr>
          </c:marker>
          <c:trendline>
            <c:spPr>
              <a:ln w="22225">
                <a:solidFill>
                  <a:srgbClr val="FFC000"/>
                </a:solidFill>
              </a:ln>
            </c:spPr>
            <c:trendlineType val="linear"/>
            <c:dispRSqr val="0"/>
            <c:dispEq val="0"/>
          </c:trendline>
          <c:cat>
            <c:strRef>
              <c:f>mensile!$C$13:$C$137</c:f>
              <c:strCache>
                <c:ptCount val="125"/>
                <c:pt idx="0">
                  <c:v>Dicembre</c:v>
                </c:pt>
                <c:pt idx="1">
                  <c:v>Gennaio</c:v>
                </c:pt>
                <c:pt idx="2">
                  <c:v>Febbraio</c:v>
                </c:pt>
                <c:pt idx="3">
                  <c:v>Marzo</c:v>
                </c:pt>
                <c:pt idx="4">
                  <c:v>Aprile</c:v>
                </c:pt>
                <c:pt idx="5">
                  <c:v>Maggio</c:v>
                </c:pt>
                <c:pt idx="6">
                  <c:v>Giugno</c:v>
                </c:pt>
                <c:pt idx="7">
                  <c:v>Luglio</c:v>
                </c:pt>
                <c:pt idx="8">
                  <c:v>Agosto</c:v>
                </c:pt>
                <c:pt idx="9">
                  <c:v>Settembre</c:v>
                </c:pt>
                <c:pt idx="10">
                  <c:v>Ottobre</c:v>
                </c:pt>
                <c:pt idx="11">
                  <c:v>Novembre</c:v>
                </c:pt>
                <c:pt idx="12">
                  <c:v>Dicembre</c:v>
                </c:pt>
                <c:pt idx="13">
                  <c:v>Gennaio</c:v>
                </c:pt>
                <c:pt idx="14">
                  <c:v>Febbraio</c:v>
                </c:pt>
                <c:pt idx="15">
                  <c:v>Marzo</c:v>
                </c:pt>
                <c:pt idx="16">
                  <c:v>Aprile</c:v>
                </c:pt>
                <c:pt idx="17">
                  <c:v>Maggio</c:v>
                </c:pt>
                <c:pt idx="18">
                  <c:v>Giugno</c:v>
                </c:pt>
                <c:pt idx="19">
                  <c:v>Luglio</c:v>
                </c:pt>
                <c:pt idx="20">
                  <c:v>Agosto</c:v>
                </c:pt>
                <c:pt idx="21">
                  <c:v>Settembre</c:v>
                </c:pt>
                <c:pt idx="22">
                  <c:v>Ottobre</c:v>
                </c:pt>
                <c:pt idx="23">
                  <c:v>Novembre</c:v>
                </c:pt>
                <c:pt idx="24">
                  <c:v>Dicembre</c:v>
                </c:pt>
                <c:pt idx="25">
                  <c:v>Gennaio</c:v>
                </c:pt>
                <c:pt idx="26">
                  <c:v>Febbraio</c:v>
                </c:pt>
                <c:pt idx="27">
                  <c:v>Marzo</c:v>
                </c:pt>
                <c:pt idx="28">
                  <c:v>Aprile</c:v>
                </c:pt>
                <c:pt idx="29">
                  <c:v>Maggio</c:v>
                </c:pt>
                <c:pt idx="30">
                  <c:v>Giugno</c:v>
                </c:pt>
                <c:pt idx="31">
                  <c:v>Luglio</c:v>
                </c:pt>
                <c:pt idx="32">
                  <c:v>Agosto</c:v>
                </c:pt>
                <c:pt idx="33">
                  <c:v>Settembre</c:v>
                </c:pt>
                <c:pt idx="34">
                  <c:v>Ottobre</c:v>
                </c:pt>
                <c:pt idx="35">
                  <c:v>Novembre</c:v>
                </c:pt>
                <c:pt idx="36">
                  <c:v>Dicembre</c:v>
                </c:pt>
                <c:pt idx="37">
                  <c:v>Gennaio</c:v>
                </c:pt>
                <c:pt idx="38">
                  <c:v>Febbraio</c:v>
                </c:pt>
                <c:pt idx="39">
                  <c:v>Marzo</c:v>
                </c:pt>
                <c:pt idx="40">
                  <c:v>Aprile</c:v>
                </c:pt>
                <c:pt idx="41">
                  <c:v>Maggio</c:v>
                </c:pt>
                <c:pt idx="42">
                  <c:v>Giugno</c:v>
                </c:pt>
                <c:pt idx="43">
                  <c:v>Luglio</c:v>
                </c:pt>
                <c:pt idx="44">
                  <c:v>Agosto</c:v>
                </c:pt>
                <c:pt idx="45">
                  <c:v>Settembre</c:v>
                </c:pt>
                <c:pt idx="46">
                  <c:v>Ottobre</c:v>
                </c:pt>
                <c:pt idx="47">
                  <c:v>Novembre</c:v>
                </c:pt>
                <c:pt idx="48">
                  <c:v>Dicembre</c:v>
                </c:pt>
                <c:pt idx="49">
                  <c:v>Gennaio</c:v>
                </c:pt>
                <c:pt idx="50">
                  <c:v>Febbraio</c:v>
                </c:pt>
                <c:pt idx="51">
                  <c:v>Marzo</c:v>
                </c:pt>
                <c:pt idx="52">
                  <c:v>Aprile</c:v>
                </c:pt>
                <c:pt idx="53">
                  <c:v>Maggio</c:v>
                </c:pt>
                <c:pt idx="54">
                  <c:v>Giugno</c:v>
                </c:pt>
                <c:pt idx="55">
                  <c:v>Luglio</c:v>
                </c:pt>
                <c:pt idx="56">
                  <c:v>Agosto</c:v>
                </c:pt>
                <c:pt idx="57">
                  <c:v>Settembre</c:v>
                </c:pt>
                <c:pt idx="58">
                  <c:v>Ottobre</c:v>
                </c:pt>
                <c:pt idx="59">
                  <c:v>Novembre</c:v>
                </c:pt>
                <c:pt idx="60">
                  <c:v>Dicembre</c:v>
                </c:pt>
                <c:pt idx="61">
                  <c:v>Gennaio</c:v>
                </c:pt>
                <c:pt idx="62">
                  <c:v>Febbraio</c:v>
                </c:pt>
                <c:pt idx="63">
                  <c:v>Marzo</c:v>
                </c:pt>
                <c:pt idx="64">
                  <c:v>Aprile</c:v>
                </c:pt>
                <c:pt idx="65">
                  <c:v>Maggio</c:v>
                </c:pt>
                <c:pt idx="66">
                  <c:v>Giugno</c:v>
                </c:pt>
                <c:pt idx="67">
                  <c:v>Luglio</c:v>
                </c:pt>
                <c:pt idx="68">
                  <c:v>Agosto</c:v>
                </c:pt>
                <c:pt idx="69">
                  <c:v>Settembre</c:v>
                </c:pt>
                <c:pt idx="70">
                  <c:v>Ottobre</c:v>
                </c:pt>
                <c:pt idx="71">
                  <c:v>Novembre</c:v>
                </c:pt>
                <c:pt idx="72">
                  <c:v>Dicembre</c:v>
                </c:pt>
                <c:pt idx="73">
                  <c:v>Gennaio</c:v>
                </c:pt>
                <c:pt idx="74">
                  <c:v>Febbraio</c:v>
                </c:pt>
                <c:pt idx="75">
                  <c:v>Marzo</c:v>
                </c:pt>
                <c:pt idx="76">
                  <c:v>Aprile</c:v>
                </c:pt>
                <c:pt idx="77">
                  <c:v>Maggio</c:v>
                </c:pt>
                <c:pt idx="78">
                  <c:v>Giugno</c:v>
                </c:pt>
                <c:pt idx="79">
                  <c:v>Luglio</c:v>
                </c:pt>
                <c:pt idx="80">
                  <c:v>Agosto</c:v>
                </c:pt>
                <c:pt idx="81">
                  <c:v>Settembre</c:v>
                </c:pt>
                <c:pt idx="82">
                  <c:v>Ottobre</c:v>
                </c:pt>
                <c:pt idx="83">
                  <c:v>Novembre</c:v>
                </c:pt>
                <c:pt idx="84">
                  <c:v>Dicembre</c:v>
                </c:pt>
                <c:pt idx="85">
                  <c:v>Gennaio</c:v>
                </c:pt>
                <c:pt idx="86">
                  <c:v>Febbraio</c:v>
                </c:pt>
                <c:pt idx="87">
                  <c:v>Marzo</c:v>
                </c:pt>
                <c:pt idx="88">
                  <c:v>Aprile</c:v>
                </c:pt>
                <c:pt idx="89">
                  <c:v>Maggio</c:v>
                </c:pt>
                <c:pt idx="90">
                  <c:v>Giugno</c:v>
                </c:pt>
                <c:pt idx="91">
                  <c:v>Luglio</c:v>
                </c:pt>
                <c:pt idx="92">
                  <c:v>Agosto</c:v>
                </c:pt>
                <c:pt idx="93">
                  <c:v>Settembre</c:v>
                </c:pt>
                <c:pt idx="94">
                  <c:v>Ottobre</c:v>
                </c:pt>
                <c:pt idx="95">
                  <c:v>Novembre</c:v>
                </c:pt>
                <c:pt idx="96">
                  <c:v>Dicembre</c:v>
                </c:pt>
                <c:pt idx="97">
                  <c:v>Gennaio</c:v>
                </c:pt>
                <c:pt idx="98">
                  <c:v>Febbraio</c:v>
                </c:pt>
                <c:pt idx="99">
                  <c:v>Marzo</c:v>
                </c:pt>
                <c:pt idx="100">
                  <c:v>Aprile</c:v>
                </c:pt>
                <c:pt idx="101">
                  <c:v>Maggio</c:v>
                </c:pt>
                <c:pt idx="102">
                  <c:v>Giugno</c:v>
                </c:pt>
                <c:pt idx="103">
                  <c:v>Luglio</c:v>
                </c:pt>
                <c:pt idx="104">
                  <c:v>Agosto</c:v>
                </c:pt>
                <c:pt idx="105">
                  <c:v>Settembre</c:v>
                </c:pt>
                <c:pt idx="106">
                  <c:v>Ottobre</c:v>
                </c:pt>
                <c:pt idx="107">
                  <c:v>Novembre</c:v>
                </c:pt>
                <c:pt idx="108">
                  <c:v>Dicembre</c:v>
                </c:pt>
                <c:pt idx="109">
                  <c:v>Gennaio</c:v>
                </c:pt>
                <c:pt idx="110">
                  <c:v>Febbraio</c:v>
                </c:pt>
                <c:pt idx="111">
                  <c:v>Marzo</c:v>
                </c:pt>
                <c:pt idx="112">
                  <c:v>Aprile</c:v>
                </c:pt>
                <c:pt idx="113">
                  <c:v>Maggio</c:v>
                </c:pt>
                <c:pt idx="114">
                  <c:v>Giugno</c:v>
                </c:pt>
                <c:pt idx="115">
                  <c:v>Luglio</c:v>
                </c:pt>
                <c:pt idx="116">
                  <c:v>Agosto</c:v>
                </c:pt>
                <c:pt idx="117">
                  <c:v>Settembre</c:v>
                </c:pt>
                <c:pt idx="118">
                  <c:v>Ottobre</c:v>
                </c:pt>
                <c:pt idx="119">
                  <c:v>Novembre</c:v>
                </c:pt>
                <c:pt idx="120">
                  <c:v>Dicembre</c:v>
                </c:pt>
                <c:pt idx="121">
                  <c:v>Gennaio</c:v>
                </c:pt>
                <c:pt idx="122">
                  <c:v>Febbraio</c:v>
                </c:pt>
                <c:pt idx="123">
                  <c:v>Marzo</c:v>
                </c:pt>
                <c:pt idx="124">
                  <c:v>Aprile</c:v>
                </c:pt>
              </c:strCache>
            </c:strRef>
          </c:cat>
          <c:val>
            <c:numRef>
              <c:f>mensile!$E$13:$E$137</c:f>
              <c:numCache>
                <c:formatCode>#,##0</c:formatCode>
                <c:ptCount val="125"/>
                <c:pt idx="0">
                  <c:v>33204.5</c:v>
                </c:pt>
                <c:pt idx="1">
                  <c:v>33493.833333333336</c:v>
                </c:pt>
                <c:pt idx="2">
                  <c:v>33990.666666666664</c:v>
                </c:pt>
                <c:pt idx="3">
                  <c:v>33968.833333333336</c:v>
                </c:pt>
                <c:pt idx="4">
                  <c:v>34086.583333333336</c:v>
                </c:pt>
                <c:pt idx="5">
                  <c:v>34364.166666666664</c:v>
                </c:pt>
                <c:pt idx="6">
                  <c:v>34250.666666666664</c:v>
                </c:pt>
                <c:pt idx="7">
                  <c:v>34136.25</c:v>
                </c:pt>
                <c:pt idx="8">
                  <c:v>34045.75</c:v>
                </c:pt>
                <c:pt idx="9">
                  <c:v>34293.416666666664</c:v>
                </c:pt>
                <c:pt idx="10">
                  <c:v>34210.666666666664</c:v>
                </c:pt>
                <c:pt idx="11">
                  <c:v>33820.583333333336</c:v>
                </c:pt>
                <c:pt idx="12">
                  <c:v>33496.583333333336</c:v>
                </c:pt>
                <c:pt idx="13">
                  <c:v>32798.083333333336</c:v>
                </c:pt>
                <c:pt idx="14">
                  <c:v>32112.833333333332</c:v>
                </c:pt>
                <c:pt idx="15">
                  <c:v>31840.916666666668</c:v>
                </c:pt>
                <c:pt idx="16">
                  <c:v>31321.833333333332</c:v>
                </c:pt>
                <c:pt idx="17">
                  <c:v>30701.333333333332</c:v>
                </c:pt>
                <c:pt idx="18">
                  <c:v>30242.25</c:v>
                </c:pt>
                <c:pt idx="19">
                  <c:v>30013.333333333332</c:v>
                </c:pt>
                <c:pt idx="20">
                  <c:v>29997.25</c:v>
                </c:pt>
                <c:pt idx="21">
                  <c:v>30013.416666666668</c:v>
                </c:pt>
                <c:pt idx="22">
                  <c:v>29759.583333333332</c:v>
                </c:pt>
                <c:pt idx="23">
                  <c:v>30354.25</c:v>
                </c:pt>
                <c:pt idx="24">
                  <c:v>30904.083333333332</c:v>
                </c:pt>
                <c:pt idx="25">
                  <c:v>31011</c:v>
                </c:pt>
                <c:pt idx="26">
                  <c:v>31309.25</c:v>
                </c:pt>
                <c:pt idx="27">
                  <c:v>31728.583333333332</c:v>
                </c:pt>
                <c:pt idx="28">
                  <c:v>32157.75</c:v>
                </c:pt>
                <c:pt idx="29">
                  <c:v>32675.833333333332</c:v>
                </c:pt>
                <c:pt idx="30">
                  <c:v>33167.083333333336</c:v>
                </c:pt>
                <c:pt idx="31">
                  <c:v>33248</c:v>
                </c:pt>
                <c:pt idx="32">
                  <c:v>33286.333333333336</c:v>
                </c:pt>
                <c:pt idx="33">
                  <c:v>33271.75</c:v>
                </c:pt>
                <c:pt idx="34">
                  <c:v>33409.5</c:v>
                </c:pt>
                <c:pt idx="35">
                  <c:v>33432.166666666664</c:v>
                </c:pt>
                <c:pt idx="36">
                  <c:v>33288</c:v>
                </c:pt>
                <c:pt idx="37">
                  <c:v>33296.833333333336</c:v>
                </c:pt>
                <c:pt idx="38">
                  <c:v>33326.166666666664</c:v>
                </c:pt>
                <c:pt idx="39">
                  <c:v>32916.916666666664</c:v>
                </c:pt>
                <c:pt idx="40">
                  <c:v>32554.666666666668</c:v>
                </c:pt>
                <c:pt idx="41">
                  <c:v>32114.833333333332</c:v>
                </c:pt>
                <c:pt idx="42">
                  <c:v>31745</c:v>
                </c:pt>
                <c:pt idx="43">
                  <c:v>31954.5</c:v>
                </c:pt>
                <c:pt idx="44">
                  <c:v>32118.416666666668</c:v>
                </c:pt>
                <c:pt idx="45">
                  <c:v>31961.25</c:v>
                </c:pt>
                <c:pt idx="46">
                  <c:v>31828.833333333332</c:v>
                </c:pt>
                <c:pt idx="47">
                  <c:v>31091.833333333332</c:v>
                </c:pt>
                <c:pt idx="48">
                  <c:v>30683</c:v>
                </c:pt>
                <c:pt idx="49">
                  <c:v>30612</c:v>
                </c:pt>
                <c:pt idx="50">
                  <c:v>30473.75</c:v>
                </c:pt>
                <c:pt idx="51">
                  <c:v>30399.333333333332</c:v>
                </c:pt>
                <c:pt idx="52">
                  <c:v>30400.916666666668</c:v>
                </c:pt>
                <c:pt idx="53">
                  <c:v>29981.583333333332</c:v>
                </c:pt>
                <c:pt idx="54">
                  <c:v>29800</c:v>
                </c:pt>
                <c:pt idx="55">
                  <c:v>29488</c:v>
                </c:pt>
                <c:pt idx="56">
                  <c:v>29207.916666666668</c:v>
                </c:pt>
                <c:pt idx="57">
                  <c:v>28890.5</c:v>
                </c:pt>
                <c:pt idx="58">
                  <c:v>28405.5</c:v>
                </c:pt>
                <c:pt idx="59">
                  <c:v>27792.75</c:v>
                </c:pt>
                <c:pt idx="60">
                  <c:v>27557.5</c:v>
                </c:pt>
                <c:pt idx="61">
                  <c:v>27522.25</c:v>
                </c:pt>
                <c:pt idx="62">
                  <c:v>26877.5</c:v>
                </c:pt>
                <c:pt idx="63">
                  <c:v>26256.25</c:v>
                </c:pt>
                <c:pt idx="64">
                  <c:v>25946.583333333332</c:v>
                </c:pt>
                <c:pt idx="65">
                  <c:v>25780.5</c:v>
                </c:pt>
                <c:pt idx="66">
                  <c:v>25361.666666666668</c:v>
                </c:pt>
                <c:pt idx="67">
                  <c:v>25297.25</c:v>
                </c:pt>
                <c:pt idx="68">
                  <c:v>25227.416666666668</c:v>
                </c:pt>
                <c:pt idx="69">
                  <c:v>25058.666666666668</c:v>
                </c:pt>
                <c:pt idx="70">
                  <c:v>24809.583333333332</c:v>
                </c:pt>
                <c:pt idx="71">
                  <c:v>25127.5</c:v>
                </c:pt>
                <c:pt idx="72">
                  <c:v>24997.5</c:v>
                </c:pt>
                <c:pt idx="73">
                  <c:v>25068.333333333332</c:v>
                </c:pt>
                <c:pt idx="74">
                  <c:v>25218</c:v>
                </c:pt>
                <c:pt idx="75">
                  <c:v>25269.916666666668</c:v>
                </c:pt>
                <c:pt idx="76">
                  <c:v>25039.083333333332</c:v>
                </c:pt>
                <c:pt idx="77">
                  <c:v>24865.333333333332</c:v>
                </c:pt>
                <c:pt idx="78">
                  <c:v>24501.833333333332</c:v>
                </c:pt>
                <c:pt idx="79">
                  <c:v>24246.916666666668</c:v>
                </c:pt>
                <c:pt idx="80">
                  <c:v>24222.583333333332</c:v>
                </c:pt>
                <c:pt idx="81">
                  <c:v>24274.916666666668</c:v>
                </c:pt>
                <c:pt idx="82">
                  <c:v>24289.916666666668</c:v>
                </c:pt>
                <c:pt idx="83">
                  <c:v>24242.916666666668</c:v>
                </c:pt>
                <c:pt idx="84">
                  <c:v>24336.916666666668</c:v>
                </c:pt>
                <c:pt idx="85">
                  <c:v>24349.25</c:v>
                </c:pt>
                <c:pt idx="86">
                  <c:v>24538.916666666668</c:v>
                </c:pt>
                <c:pt idx="87">
                  <c:v>24725.666666666668</c:v>
                </c:pt>
                <c:pt idx="88">
                  <c:v>24907.583333333332</c:v>
                </c:pt>
                <c:pt idx="89">
                  <c:v>24950.5</c:v>
                </c:pt>
                <c:pt idx="90">
                  <c:v>25345.5</c:v>
                </c:pt>
                <c:pt idx="91">
                  <c:v>25835.916666666668</c:v>
                </c:pt>
                <c:pt idx="92">
                  <c:v>25952.083333333332</c:v>
                </c:pt>
                <c:pt idx="93">
                  <c:v>26177.5</c:v>
                </c:pt>
                <c:pt idx="94">
                  <c:v>26429.75</c:v>
                </c:pt>
                <c:pt idx="95">
                  <c:v>26515.833333333332</c:v>
                </c:pt>
                <c:pt idx="96">
                  <c:v>26632</c:v>
                </c:pt>
                <c:pt idx="97">
                  <c:v>26579.333333333332</c:v>
                </c:pt>
                <c:pt idx="98">
                  <c:v>26703.75</c:v>
                </c:pt>
                <c:pt idx="99">
                  <c:v>26731.333333333332</c:v>
                </c:pt>
                <c:pt idx="100">
                  <c:v>26808.666666666668</c:v>
                </c:pt>
                <c:pt idx="101">
                  <c:v>26839.083333333332</c:v>
                </c:pt>
                <c:pt idx="102">
                  <c:v>26712.166666666668</c:v>
                </c:pt>
                <c:pt idx="103">
                  <c:v>26779.75</c:v>
                </c:pt>
                <c:pt idx="104">
                  <c:v>26846</c:v>
                </c:pt>
                <c:pt idx="105">
                  <c:v>26744.333333333332</c:v>
                </c:pt>
                <c:pt idx="106">
                  <c:v>26669</c:v>
                </c:pt>
                <c:pt idx="107">
                  <c:v>26925.166666666668</c:v>
                </c:pt>
                <c:pt idx="108">
                  <c:v>27237.666666666668</c:v>
                </c:pt>
                <c:pt idx="109">
                  <c:v>27299.5</c:v>
                </c:pt>
                <c:pt idx="110">
                  <c:v>27223.166666666668</c:v>
                </c:pt>
                <c:pt idx="111">
                  <c:v>27231.833333333332</c:v>
                </c:pt>
                <c:pt idx="112">
                  <c:v>27303.5</c:v>
                </c:pt>
                <c:pt idx="113">
                  <c:v>27694.666666666668</c:v>
                </c:pt>
                <c:pt idx="114">
                  <c:v>27921.833333333332</c:v>
                </c:pt>
                <c:pt idx="115">
                  <c:v>27793.166666666668</c:v>
                </c:pt>
                <c:pt idx="116">
                  <c:v>27790.25</c:v>
                </c:pt>
                <c:pt idx="117">
                  <c:v>28038.833333333332</c:v>
                </c:pt>
                <c:pt idx="118">
                  <c:v>28430.416666666668</c:v>
                </c:pt>
                <c:pt idx="119">
                  <c:v>28687.083333333332</c:v>
                </c:pt>
                <c:pt idx="120">
                  <c:v>28696</c:v>
                </c:pt>
                <c:pt idx="121">
                  <c:v>28784.5</c:v>
                </c:pt>
                <c:pt idx="122">
                  <c:v>28886.083333333332</c:v>
                </c:pt>
                <c:pt idx="123">
                  <c:v>29134</c:v>
                </c:pt>
                <c:pt idx="124">
                  <c:v>29554.33333333333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96757104"/>
        <c:axId val="196757496"/>
      </c:lineChart>
      <c:catAx>
        <c:axId val="19675710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one"/>
        <c:txPr>
          <a:bodyPr/>
          <a:lstStyle/>
          <a:p>
            <a:pPr>
              <a:defRPr sz="100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pPr>
            <a:endParaRPr lang="it-IT"/>
          </a:p>
        </c:txPr>
        <c:crossAx val="196757496"/>
        <c:crosses val="autoZero"/>
        <c:auto val="0"/>
        <c:lblAlgn val="ctr"/>
        <c:lblOffset val="100"/>
        <c:noMultiLvlLbl val="0"/>
      </c:catAx>
      <c:valAx>
        <c:axId val="196757496"/>
        <c:scaling>
          <c:orientation val="minMax"/>
          <c:min val="5000"/>
        </c:scaling>
        <c:delete val="0"/>
        <c:axPos val="l"/>
        <c:majorGridlines/>
        <c:numFmt formatCode="#,##0" sourceLinked="1"/>
        <c:majorTickMark val="none"/>
        <c:minorTickMark val="none"/>
        <c:tickLblPos val="nextTo"/>
        <c:spPr>
          <a:ln w="9525">
            <a:solidFill>
              <a:schemeClr val="bg1">
                <a:lumMod val="65000"/>
              </a:schemeClr>
            </a:solidFill>
          </a:ln>
        </c:spPr>
        <c:txPr>
          <a:bodyPr/>
          <a:lstStyle/>
          <a:p>
            <a:pPr>
              <a:defRPr sz="100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pPr>
            <a:endParaRPr lang="it-IT"/>
          </a:p>
        </c:txPr>
        <c:crossAx val="196757104"/>
        <c:crosses val="autoZero"/>
        <c:crossBetween val="between"/>
      </c:valAx>
    </c:plotArea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31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51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5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t" anchorCtr="0" compatLnSpc="1">
            <a:prstTxWarp prst="textNoShape">
              <a:avLst/>
            </a:prstTxWarp>
          </a:bodyPr>
          <a:lstStyle>
            <a:lvl1pPr algn="l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9251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8" y="5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t" anchorCtr="0" compatLnSpc="1">
            <a:prstTxWarp prst="textNoShape">
              <a:avLst/>
            </a:prstTxWarp>
          </a:bodyPr>
          <a:lstStyle>
            <a:lvl1pPr algn="r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9251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429756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b" anchorCtr="0" compatLnSpc="1">
            <a:prstTxWarp prst="textNoShape">
              <a:avLst/>
            </a:prstTxWarp>
          </a:bodyPr>
          <a:lstStyle>
            <a:lvl1pPr algn="l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9251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88" y="9429756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b" anchorCtr="0" compatLnSpc="1">
            <a:prstTxWarp prst="textNoShape">
              <a:avLst/>
            </a:prstTxWarp>
          </a:bodyPr>
          <a:lstStyle>
            <a:lvl1pPr algn="r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4CA06CC-DF2B-4766-BFC7-FDC658E828BC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2560417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5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t" anchorCtr="0" compatLnSpc="1">
            <a:prstTxWarp prst="textNoShape">
              <a:avLst/>
            </a:prstTxWarp>
          </a:bodyPr>
          <a:lstStyle>
            <a:lvl1pPr algn="l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5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t" anchorCtr="0" compatLnSpc="1">
            <a:prstTxWarp prst="textNoShape">
              <a:avLst/>
            </a:prstTxWarp>
          </a:bodyPr>
          <a:lstStyle>
            <a:lvl1pPr algn="r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2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0488" y="742950"/>
            <a:ext cx="6618287" cy="37242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22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7" y="4714875"/>
            <a:ext cx="5438775" cy="447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noProof="0" smtClean="0"/>
              <a:t>Fare clic per modificare gli stili del testo dello schema</a:t>
            </a:r>
          </a:p>
          <a:p>
            <a:pPr lvl="1"/>
            <a:r>
              <a:rPr lang="it-IT" noProof="0" smtClean="0"/>
              <a:t>Secondo livello</a:t>
            </a:r>
          </a:p>
          <a:p>
            <a:pPr lvl="2"/>
            <a:r>
              <a:rPr lang="it-IT" noProof="0" smtClean="0"/>
              <a:t>Terzo livello</a:t>
            </a:r>
          </a:p>
          <a:p>
            <a:pPr lvl="3"/>
            <a:r>
              <a:rPr lang="it-IT" noProof="0" smtClean="0"/>
              <a:t>Quarto livello</a:t>
            </a:r>
          </a:p>
          <a:p>
            <a:pPr lvl="4"/>
            <a:r>
              <a:rPr lang="it-IT" noProof="0" smtClean="0"/>
              <a:t>Quinto livello</a:t>
            </a:r>
          </a:p>
        </p:txBody>
      </p:sp>
      <p:sp>
        <p:nvSpPr>
          <p:cNvPr id="922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29756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b" anchorCtr="0" compatLnSpc="1">
            <a:prstTxWarp prst="textNoShape">
              <a:avLst/>
            </a:prstTxWarp>
          </a:bodyPr>
          <a:lstStyle>
            <a:lvl1pPr algn="l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2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429756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b" anchorCtr="0" compatLnSpc="1">
            <a:prstTxWarp prst="textNoShape">
              <a:avLst/>
            </a:prstTxWarp>
          </a:bodyPr>
          <a:lstStyle>
            <a:lvl1pPr algn="r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1C1303C6-5D75-4EB5-AB33-C6E03672B972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67179606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>
                <a:solidFill>
                  <a:prstClr val="black"/>
                </a:solidFill>
              </a:rPr>
              <a:pPr/>
              <a:t>1</a:t>
            </a:fld>
            <a:endParaRPr lang="it-I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69177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>
                <a:solidFill>
                  <a:prstClr val="black"/>
                </a:solidFill>
              </a:rPr>
              <a:pPr/>
              <a:t>2</a:t>
            </a:fld>
            <a:endParaRPr lang="it-I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27759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90488" y="742950"/>
            <a:ext cx="6618287" cy="3724275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C1303C6-5D75-4EB5-AB33-C6E03672B972}" type="slidenum">
              <a:rPr lang="it-IT" smtClean="0"/>
              <a:pPr>
                <a:defRPr/>
              </a:pPr>
              <a:t>9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5424960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emf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1.emf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3.pn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3.png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2.emf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1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1.emf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3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3.png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2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1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207383598"/>
      </p:ext>
    </p:extLst>
  </p:cSld>
  <p:clrMapOvr>
    <a:masterClrMapping/>
  </p:clrMapOvr>
  <p:transition spd="med">
    <p:strips dir="rd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736176967"/>
      </p:ext>
    </p:extLst>
  </p:cSld>
  <p:clrMapOvr>
    <a:masterClrMapping/>
  </p:clrMapOvr>
  <p:transition spd="med">
    <p:strips dir="rd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37600" y="274638"/>
            <a:ext cx="2844800" cy="5211762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03200" y="274638"/>
            <a:ext cx="8331200" cy="521176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95779852"/>
      </p:ext>
    </p:extLst>
  </p:cSld>
  <p:clrMapOvr>
    <a:masterClrMapping/>
  </p:clrMapOvr>
  <p:transition spd="med">
    <p:strips dir="rd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203200" y="1371600"/>
            <a:ext cx="10363200" cy="4114800"/>
          </a:xfrm>
        </p:spPr>
        <p:txBody>
          <a:bodyPr/>
          <a:lstStyle/>
          <a:p>
            <a:pPr lvl="0"/>
            <a:endParaRPr lang="it-IT" noProof="0" smtClean="0"/>
          </a:p>
        </p:txBody>
      </p:sp>
    </p:spTree>
    <p:extLst>
      <p:ext uri="{BB962C8B-B14F-4D97-AF65-F5344CB8AC3E}">
        <p14:creationId xmlns:p14="http://schemas.microsoft.com/office/powerpoint/2010/main" val="2665872679"/>
      </p:ext>
    </p:extLst>
  </p:cSld>
  <p:clrMapOvr>
    <a:masterClrMapping/>
  </p:clrMapOvr>
  <p:transition spd="med">
    <p:strips dir="rd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278589816"/>
      </p:ext>
    </p:extLst>
  </p:cSld>
  <p:clrMapOvr>
    <a:masterClrMapping/>
  </p:clrMapOvr>
  <p:transition spd="med">
    <p:strips dir="rd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77826689"/>
      </p:ext>
    </p:extLst>
  </p:cSld>
  <p:clrMapOvr>
    <a:masterClrMapping/>
  </p:clrMapOvr>
  <p:transition spd="med">
    <p:strips dir="rd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79306583"/>
      </p:ext>
    </p:extLst>
  </p:cSld>
  <p:clrMapOvr>
    <a:masterClrMapping/>
  </p:clrMapOvr>
  <p:transition spd="med">
    <p:strips dir="rd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03200" y="1371600"/>
            <a:ext cx="508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86400" y="1371600"/>
            <a:ext cx="508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4450887"/>
      </p:ext>
    </p:extLst>
  </p:cSld>
  <p:clrMapOvr>
    <a:masterClrMapping/>
  </p:clrMapOvr>
  <p:transition spd="med">
    <p:strips dir="rd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82738116"/>
      </p:ext>
    </p:extLst>
  </p:cSld>
  <p:clrMapOvr>
    <a:masterClrMapping/>
  </p:clrMapOvr>
  <p:transition spd="med">
    <p:strips dir="rd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317409807"/>
      </p:ext>
    </p:extLst>
  </p:cSld>
  <p:clrMapOvr>
    <a:masterClrMapping/>
  </p:clrMapOvr>
  <p:transition spd="med">
    <p:strips dir="rd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35837974"/>
      </p:ext>
    </p:extLst>
  </p:cSld>
  <p:clrMapOvr>
    <a:masterClrMapping/>
  </p:clrMapOvr>
  <p:transition spd="med">
    <p:strips dir="rd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531459494"/>
      </p:ext>
    </p:extLst>
  </p:cSld>
  <p:clrMapOvr>
    <a:masterClrMapping/>
  </p:clrMapOvr>
  <p:transition spd="med">
    <p:strips dir="rd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54045"/>
      </p:ext>
    </p:extLst>
  </p:cSld>
  <p:clrMapOvr>
    <a:masterClrMapping/>
  </p:clrMapOvr>
  <p:transition spd="med">
    <p:strips dir="rd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it-IT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60230347"/>
      </p:ext>
    </p:extLst>
  </p:cSld>
  <p:clrMapOvr>
    <a:masterClrMapping/>
  </p:clrMapOvr>
  <p:transition spd="med">
    <p:strips dir="rd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151677282"/>
      </p:ext>
    </p:extLst>
  </p:cSld>
  <p:clrMapOvr>
    <a:masterClrMapping/>
  </p:clrMapOvr>
  <p:transition spd="med">
    <p:strips dir="rd"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37600" y="274638"/>
            <a:ext cx="2844800" cy="5211762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03200" y="274638"/>
            <a:ext cx="8331200" cy="521176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681808767"/>
      </p:ext>
    </p:extLst>
  </p:cSld>
  <p:clrMapOvr>
    <a:masterClrMapping/>
  </p:clrMapOvr>
  <p:transition spd="med">
    <p:strips dir="rd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203200" y="1371600"/>
            <a:ext cx="10363200" cy="4114800"/>
          </a:xfrm>
        </p:spPr>
        <p:txBody>
          <a:bodyPr/>
          <a:lstStyle/>
          <a:p>
            <a:pPr lvl="0"/>
            <a:endParaRPr lang="it-IT" noProof="0" smtClean="0"/>
          </a:p>
        </p:txBody>
      </p:sp>
    </p:spTree>
    <p:extLst>
      <p:ext uri="{BB962C8B-B14F-4D97-AF65-F5344CB8AC3E}">
        <p14:creationId xmlns:p14="http://schemas.microsoft.com/office/powerpoint/2010/main" val="3021146096"/>
      </p:ext>
    </p:extLst>
  </p:cSld>
  <p:clrMapOvr>
    <a:masterClrMapping/>
  </p:clrMapOvr>
  <p:transition spd="med">
    <p:strips dir="rd"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Cent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9694" y="1006476"/>
            <a:ext cx="11128415" cy="4500563"/>
          </a:xfrm>
          <a:prstGeom prst="rect">
            <a:avLst/>
          </a:prstGeom>
        </p:spPr>
        <p:txBody>
          <a:bodyPr/>
          <a:lstStyle>
            <a:lvl1pPr marL="174625" indent="-174625">
              <a:spcAft>
                <a:spcPts val="115"/>
              </a:spcAft>
              <a:buFont typeface="Arial" pitchFamily="34" charset="0"/>
              <a:buNone/>
              <a:defRPr sz="2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66688" indent="-166688">
              <a:spcAft>
                <a:spcPts val="115"/>
              </a:spcAft>
              <a:tabLst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77800" indent="-177800">
              <a:spcAft>
                <a:spcPts val="115"/>
              </a:spcAft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77800" indent="-177800">
              <a:spcAft>
                <a:spcPts val="115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4625" indent="-174625">
              <a:spcAft>
                <a:spcPts val="115"/>
              </a:spcAft>
              <a:buFont typeface="Arial" pitchFamily="34" charset="0"/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8" name="Titolo 1"/>
          <p:cNvSpPr>
            <a:spLocks noGrp="1"/>
          </p:cNvSpPr>
          <p:nvPr>
            <p:ph type="title" hasCustomPrompt="1"/>
          </p:nvPr>
        </p:nvSpPr>
        <p:spPr>
          <a:xfrm>
            <a:off x="629693" y="249387"/>
            <a:ext cx="11148321" cy="583127"/>
          </a:xfrm>
          <a:prstGeom prst="rect">
            <a:avLst/>
          </a:prstGeom>
        </p:spPr>
        <p:txBody>
          <a:bodyPr/>
          <a:lstStyle>
            <a:lvl1pPr>
              <a:defRPr sz="2800" b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ext styles</a:t>
            </a:r>
            <a:endParaRPr lang="it-IT" dirty="0"/>
          </a:p>
        </p:txBody>
      </p:sp>
      <p:pic>
        <p:nvPicPr>
          <p:cNvPr id="2050" name="Picture 2" descr="C:\MARKETING\PROGETTI\PPT REPLY TEMPLATE\elements\omini tutti colori 3d\green\reply_3d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11103710" y="6039136"/>
            <a:ext cx="885377" cy="719138"/>
          </a:xfrm>
          <a:prstGeom prst="rect">
            <a:avLst/>
          </a:prstGeom>
          <a:noFill/>
        </p:spPr>
      </p:pic>
      <p:sp>
        <p:nvSpPr>
          <p:cNvPr id="5" name="TextBox 4"/>
          <p:cNvSpPr txBox="1"/>
          <p:nvPr userDrawn="1"/>
        </p:nvSpPr>
        <p:spPr>
          <a:xfrm>
            <a:off x="218902" y="6283327"/>
            <a:ext cx="52184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83005305-56AA-41FB-8E52-9E09D388040D}" type="slidenum">
              <a:rPr lang="it-IT" sz="1000" smtClean="0">
                <a:solidFill>
                  <a:srgbClr val="000000"/>
                </a:solidFill>
              </a:rPr>
              <a:pPr algn="r"/>
              <a:t>‹N›</a:t>
            </a:fld>
            <a:endParaRPr lang="it-IT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3762301"/>
      </p:ext>
    </p:extLst>
  </p:cSld>
  <p:clrMapOvr>
    <a:masterClrMapping/>
  </p:clrMapOvr>
  <p:transition spd="med">
    <p:wipe dir="r"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magine 10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5138" y="1065749"/>
            <a:ext cx="10114148" cy="3216228"/>
          </a:xfrm>
        </p:spPr>
        <p:txBody>
          <a:bodyPr anchor="b"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6000" i="0" u="none" kern="1200" cap="all" spc="-100" dirty="0">
                <a:solidFill>
                  <a:schemeClr val="bg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INSERT YOUR</a:t>
            </a:r>
            <a:br>
              <a:rPr lang="it-IT" dirty="0" smtClean="0"/>
            </a:br>
            <a:r>
              <a:rPr lang="it-IT" dirty="0" smtClean="0"/>
              <a:t>TITLE HERE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6" y="4501190"/>
            <a:ext cx="10114149" cy="438427"/>
          </a:xfrm>
        </p:spPr>
        <p:txBody>
          <a:bodyPr lIns="0" bIns="0" anchor="t">
            <a:noAutofit/>
          </a:bodyPr>
          <a:lstStyle>
            <a:lvl1pPr marL="0" indent="0" algn="l">
              <a:buNone/>
              <a:defRPr sz="1800" b="0" cap="none">
                <a:solidFill>
                  <a:schemeClr val="bg1"/>
                </a:solidFill>
                <a:latin typeface="+mn-lt"/>
                <a:cs typeface="Arial Black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Immagin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80949" y="6331379"/>
            <a:ext cx="1379035" cy="323421"/>
          </a:xfrm>
          <a:prstGeom prst="rect">
            <a:avLst/>
          </a:prstGeom>
        </p:spPr>
      </p:pic>
      <p:pic>
        <p:nvPicPr>
          <p:cNvPr id="6" name="Immagine 5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952" y="304364"/>
            <a:ext cx="3594826" cy="1883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40601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ing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6" name="think-cell Folie" r:id="rId4" imgW="351" imgH="351" progId="TCLayout.ActiveDocument.1">
                  <p:embed/>
                </p:oleObj>
              </mc:Choice>
              <mc:Fallback>
                <p:oleObj name="think-cell Folie" r:id="rId4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04331" y="1941404"/>
            <a:ext cx="10583335" cy="2462213"/>
          </a:xfrm>
        </p:spPr>
        <p:txBody>
          <a:bodyPr/>
          <a:lstStyle>
            <a:lvl1pPr marL="500063" indent="-500063">
              <a:spcBef>
                <a:spcPts val="12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/>
            </a:lvl1pPr>
            <a:lvl2pPr marL="982663" indent="-490538">
              <a:spcBef>
                <a:spcPts val="12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cap="none">
                <a:solidFill>
                  <a:schemeClr val="tx1"/>
                </a:solidFill>
              </a:defRPr>
            </a:lvl2pPr>
            <a:lvl3pPr marL="1431925" indent="-450850">
              <a:spcBef>
                <a:spcPts val="12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sz="1600">
                <a:solidFill>
                  <a:schemeClr val="tx1"/>
                </a:solidFill>
              </a:defRPr>
            </a:lvl3pPr>
            <a:lvl4pPr marL="1371600" indent="-342900">
              <a:buFont typeface="+mj-lt"/>
              <a:buAutoNum type="arabicPeriod"/>
              <a:defRPr/>
            </a:lvl4pPr>
            <a:lvl5pPr marL="1714500" indent="-342900">
              <a:buFont typeface="+mj-lt"/>
              <a:buAutoNum type="arabicPeriod"/>
              <a:defRPr/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Bild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2426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3"/>
            <a:ext cx="10109631" cy="2175229"/>
          </a:xfrm>
        </p:spPr>
        <p:txBody>
          <a:bodyPr anchor="b"/>
          <a:lstStyle>
            <a:lvl1pPr algn="ctr">
              <a:lnSpc>
                <a:spcPct val="80000"/>
              </a:lnSpc>
              <a:defRPr lang="en-US" sz="6000" i="0" u="none" kern="1200" cap="all" spc="-100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sECTION</a:t>
            </a:r>
            <a:r>
              <a:rPr lang="it-IT" dirty="0" smtClean="0"/>
              <a:t/>
            </a:r>
            <a:br>
              <a:rPr lang="it-IT" dirty="0" smtClean="0"/>
            </a:br>
            <a:r>
              <a:rPr lang="it-IT" dirty="0" smtClean="0"/>
              <a:t>SLID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553015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3"/>
            <a:ext cx="10109631" cy="2175229"/>
          </a:xfrm>
        </p:spPr>
        <p:txBody>
          <a:bodyPr anchor="t"/>
          <a:lstStyle>
            <a:lvl1pPr algn="ctr">
              <a:lnSpc>
                <a:spcPct val="80000"/>
              </a:lnSpc>
              <a:defRPr lang="en-US" sz="5400" i="0" u="none" kern="1200" cap="all" spc="-100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de-DE" dirty="0" smtClean="0"/>
              <a:t>STATEMENT </a:t>
            </a:r>
            <a:br>
              <a:rPr lang="de-DE" dirty="0" smtClean="0"/>
            </a:br>
            <a:r>
              <a:rPr lang="de-DE" dirty="0" smtClean="0"/>
              <a:t>CHART FOR IMPORTANT </a:t>
            </a:r>
            <a:br>
              <a:rPr lang="de-DE" dirty="0" smtClean="0"/>
            </a:br>
            <a:r>
              <a:rPr lang="de-DE" dirty="0" smtClean="0"/>
              <a:t>POINTS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64858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363151"/>
      </p:ext>
    </p:extLst>
  </p:cSld>
  <p:clrMapOvr>
    <a:masterClrMapping/>
  </p:clrMapOvr>
  <p:transition spd="med">
    <p:strips dir="rd"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46658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820832"/>
            <a:ext cx="10109631" cy="1216336"/>
          </a:xfrm>
        </p:spPr>
        <p:txBody>
          <a:bodyPr anchor="ctr"/>
          <a:lstStyle>
            <a:lvl1pPr>
              <a:lnSpc>
                <a:spcPct val="100000"/>
              </a:lnSpc>
              <a:defRPr lang="en-US" sz="5400" i="0" u="none" kern="1200" cap="all" spc="-100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chapte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6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988865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with Background IMG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"/>
            <a:ext cx="12192000" cy="6855363"/>
          </a:xfrm>
          <a:prstGeom prst="rect">
            <a:avLst/>
          </a:prstGeom>
        </p:spPr>
      </p:pic>
      <p:sp>
        <p:nvSpPr>
          <p:cNvPr id="7" name="Rechteck 6"/>
          <p:cNvSpPr/>
          <p:nvPr userDrawn="1"/>
        </p:nvSpPr>
        <p:spPr>
          <a:xfrm>
            <a:off x="0" y="2"/>
            <a:ext cx="12192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46658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820832"/>
            <a:ext cx="10109631" cy="1216336"/>
          </a:xfrm>
        </p:spPr>
        <p:txBody>
          <a:bodyPr anchor="ctr"/>
          <a:lstStyle>
            <a:lvl1pPr>
              <a:lnSpc>
                <a:spcPct val="100000"/>
              </a:lnSpc>
              <a:defRPr lang="en-US" sz="5400" i="0" u="none" kern="1200" cap="all" spc="-100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chapte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0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469399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1"/>
          <p:cNvPicPr>
            <a:picLocks noChangeAspect="1"/>
          </p:cNvPicPr>
          <p:nvPr userDrawn="1"/>
        </p:nvPicPr>
        <p:blipFill rotWithShape="1">
          <a:blip r:embed="rId2"/>
          <a:srcRect r="11734" b="477"/>
          <a:stretch/>
        </p:blipFill>
        <p:spPr>
          <a:xfrm>
            <a:off x="-1" y="0"/>
            <a:ext cx="12192000" cy="6858000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8000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0" name="Rechteck 6"/>
          <p:cNvSpPr/>
          <p:nvPr userDrawn="1"/>
        </p:nvSpPr>
        <p:spPr>
          <a:xfrm>
            <a:off x="0" y="2"/>
            <a:ext cx="12192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srgbClr val="000000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820832"/>
            <a:ext cx="10109631" cy="1216336"/>
          </a:xfrm>
        </p:spPr>
        <p:txBody>
          <a:bodyPr anchor="ctr"/>
          <a:lstStyle>
            <a:lvl1pPr>
              <a:lnSpc>
                <a:spcPct val="100000"/>
              </a:lnSpc>
              <a:defRPr lang="en-US" sz="6000" i="0" u="none" kern="1200" cap="all" spc="-100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chapte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6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46658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486927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5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55030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765138" y="1705891"/>
            <a:ext cx="10624217" cy="4055752"/>
          </a:xfrm>
        </p:spPr>
        <p:txBody>
          <a:bodyPr lIns="0" bIns="0"/>
          <a:lstStyle>
            <a:lvl1pPr>
              <a:lnSpc>
                <a:spcPct val="100000"/>
              </a:lnSpc>
              <a:defRPr sz="1800"/>
            </a:lvl1pPr>
            <a:lvl2pPr>
              <a:lnSpc>
                <a:spcPct val="100000"/>
              </a:lnSpc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 marL="180000" indent="-180000">
              <a:buClr>
                <a:schemeClr val="tx2"/>
              </a:buClr>
              <a:buFont typeface="Wingdings" panose="05000000000000000000" pitchFamily="2" charset="2"/>
              <a:buChar char="§"/>
              <a:defRPr sz="1800"/>
            </a:lvl4pPr>
            <a:lvl5pPr marL="360000" indent="-180000">
              <a:buFont typeface="Wingdings" panose="05000000000000000000" pitchFamily="2" charset="2"/>
              <a:buChar char="§"/>
              <a:defRPr sz="1800"/>
            </a:lvl5pPr>
            <a:lvl6pPr marL="540000" indent="-180000">
              <a:buFont typeface="Wingdings" panose="05000000000000000000" pitchFamily="2" charset="2"/>
              <a:buChar char="§"/>
              <a:defRPr sz="1700"/>
            </a:lvl6pPr>
            <a:lvl7pPr>
              <a:buClr>
                <a:schemeClr val="tx2"/>
              </a:buClr>
              <a:buAutoNum type="arabicPeriod"/>
              <a:defRPr sz="1800"/>
            </a:lvl7pPr>
            <a:lvl8pPr>
              <a:buAutoNum type="arabicPeriod"/>
              <a:defRPr sz="1800"/>
            </a:lvl8pPr>
            <a:lvl9pPr>
              <a:defRPr sz="17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1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6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079294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6" y="1711713"/>
            <a:ext cx="5244792" cy="4049711"/>
          </a:xfrm>
        </p:spPr>
        <p:txBody>
          <a:bodyPr/>
          <a:lstStyle>
            <a:lvl1pPr>
              <a:defRPr sz="1700"/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  <a:lvl6pPr>
              <a:defRPr sz="1600"/>
            </a:lvl6pPr>
            <a:lvl7pPr>
              <a:defRPr sz="1700"/>
            </a:lvl7pPr>
            <a:lvl8pPr>
              <a:defRPr sz="1700"/>
            </a:lvl8pPr>
            <a:lvl9pPr>
              <a:defRPr sz="16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144561" y="1711713"/>
            <a:ext cx="5244792" cy="4049711"/>
          </a:xfrm>
        </p:spPr>
        <p:txBody>
          <a:bodyPr/>
          <a:lstStyle>
            <a:lvl1pPr>
              <a:defRPr sz="1700"/>
            </a:lvl1pPr>
            <a:lvl2pPr marL="0" marR="0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  <a:lvl6pPr>
              <a:defRPr sz="1600"/>
            </a:lvl6pPr>
            <a:lvl7pPr>
              <a:defRPr sz="1700"/>
            </a:lvl7pPr>
            <a:lvl8pPr>
              <a:defRPr sz="1700"/>
            </a:lvl8pPr>
            <a:lvl9pPr>
              <a:defRPr sz="16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marL="0" marR="0" lvl="1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965326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on Blac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 5" descr="runningma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  <p:sp>
        <p:nvSpPr>
          <p:cNvPr id="13" name="Rettangolo 7"/>
          <p:cNvSpPr/>
          <p:nvPr userDrawn="1"/>
        </p:nvSpPr>
        <p:spPr>
          <a:xfrm>
            <a:off x="1" y="5175334"/>
            <a:ext cx="12192000" cy="168515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it-IT" sz="1800" b="0">
              <a:solidFill>
                <a:srgbClr val="000000"/>
              </a:solidFill>
            </a:endParaRPr>
          </a:p>
        </p:txBody>
      </p:sp>
      <p:pic>
        <p:nvPicPr>
          <p:cNvPr id="14" name="Bild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  <p:sp>
        <p:nvSpPr>
          <p:cNvPr id="12" name="Rettangolo 6"/>
          <p:cNvSpPr/>
          <p:nvPr userDrawn="1"/>
        </p:nvSpPr>
        <p:spPr>
          <a:xfrm>
            <a:off x="0" y="1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it-IT" sz="1800" b="0">
              <a:solidFill>
                <a:srgbClr val="000000"/>
              </a:solidFill>
            </a:endParaRPr>
          </a:p>
        </p:txBody>
      </p:sp>
      <p:sp>
        <p:nvSpPr>
          <p:cNvPr id="15" name="Rettangolo 6"/>
          <p:cNvSpPr/>
          <p:nvPr userDrawn="1"/>
        </p:nvSpPr>
        <p:spPr>
          <a:xfrm>
            <a:off x="0" y="0"/>
            <a:ext cx="12192000" cy="124913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it-IT" sz="1800" b="0">
              <a:solidFill>
                <a:srgbClr val="000000"/>
              </a:solidFill>
            </a:endParaRPr>
          </a:p>
        </p:txBody>
      </p:sp>
      <p:sp>
        <p:nvSpPr>
          <p:cNvPr id="16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0" y="1250542"/>
            <a:ext cx="12192000" cy="2629091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633838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Image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711713"/>
            <a:ext cx="3992717" cy="4049711"/>
          </a:xfrm>
        </p:spPr>
        <p:txBody>
          <a:bodyPr/>
          <a:lstStyle>
            <a:lvl1pPr>
              <a:defRPr sz="1800"/>
            </a:lvl1pPr>
            <a:lvl2pPr marL="0" marR="0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marL="0" marR="0" lvl="1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5367454" y="1684196"/>
            <a:ext cx="6824548" cy="4049183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143374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Gradient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711713"/>
            <a:ext cx="3992717" cy="4049711"/>
          </a:xfrm>
        </p:spPr>
        <p:txBody>
          <a:bodyPr/>
          <a:lstStyle>
            <a:lvl1pPr>
              <a:defRPr sz="1800"/>
            </a:lvl1pPr>
            <a:lvl2pPr marL="0" marR="0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marL="0" marR="0" lvl="1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64216" y="1784079"/>
            <a:ext cx="6842651" cy="3848991"/>
          </a:xfrm>
          <a:prstGeom prst="rect">
            <a:avLst/>
          </a:prstGeom>
        </p:spPr>
      </p:pic>
      <p:sp>
        <p:nvSpPr>
          <p:cNvPr id="12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5858096" y="3286397"/>
            <a:ext cx="6155715" cy="825759"/>
          </a:xfrm>
        </p:spPr>
        <p:txBody>
          <a:bodyPr anchor="t"/>
          <a:lstStyle>
            <a:lvl1pPr>
              <a:defRPr sz="5400" cap="all" spc="-100">
                <a:solidFill>
                  <a:srgbClr val="FFFFFF"/>
                </a:solidFill>
                <a:latin typeface="Arial Black"/>
                <a:cs typeface="Arial Black"/>
              </a:defRPr>
            </a:lvl1pPr>
            <a:lvl2pPr>
              <a:defRPr sz="4000">
                <a:latin typeface="Arial Black"/>
                <a:cs typeface="Arial Black"/>
              </a:defRPr>
            </a:lvl2pPr>
            <a:lvl3pPr>
              <a:defRPr sz="4000">
                <a:latin typeface="Arial Black"/>
                <a:cs typeface="Arial Black"/>
              </a:defRPr>
            </a:lvl3pPr>
            <a:lvl4pPr>
              <a:defRPr sz="4000">
                <a:latin typeface="Arial Black"/>
                <a:cs typeface="Arial Black"/>
              </a:defRPr>
            </a:lvl4pPr>
            <a:lvl5pPr>
              <a:defRPr sz="4000">
                <a:latin typeface="Arial Black"/>
                <a:cs typeface="Arial Black"/>
              </a:defRPr>
            </a:lvl5pPr>
            <a:lvl6pPr>
              <a:defRPr sz="4000">
                <a:latin typeface="Arial Black"/>
                <a:cs typeface="Arial Black"/>
              </a:defRPr>
            </a:lvl6pPr>
            <a:lvl7pPr>
              <a:defRPr sz="4000">
                <a:latin typeface="Arial Black"/>
                <a:cs typeface="Arial Black"/>
              </a:defRPr>
            </a:lvl7pPr>
            <a:lvl8pPr>
              <a:defRPr sz="4000">
                <a:latin typeface="Arial Black"/>
                <a:cs typeface="Arial Black"/>
              </a:defRPr>
            </a:lvl8pPr>
            <a:lvl9pPr>
              <a:defRPr sz="4000">
                <a:latin typeface="Arial Black"/>
                <a:cs typeface="Arial Black"/>
              </a:defRPr>
            </a:lvl9pPr>
          </a:lstStyle>
          <a:p>
            <a:pPr lvl="0"/>
            <a:r>
              <a:rPr lang="en-US" dirty="0" smtClean="0"/>
              <a:t>BIG TEXT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2" hasCustomPrompt="1"/>
          </p:nvPr>
        </p:nvSpPr>
        <p:spPr>
          <a:xfrm>
            <a:off x="5858096" y="2203166"/>
            <a:ext cx="6155715" cy="426875"/>
          </a:xfrm>
        </p:spPr>
        <p:txBody>
          <a:bodyPr/>
          <a:lstStyle>
            <a:lvl1pPr>
              <a:defRPr sz="1800">
                <a:solidFill>
                  <a:srgbClr val="FFFFFF"/>
                </a:solidFill>
              </a:defRPr>
            </a:lvl1pPr>
            <a:lvl2pPr marL="0" indent="0">
              <a:buFont typeface="+mj-lt"/>
              <a:buNone/>
              <a:defRPr sz="1400">
                <a:solidFill>
                  <a:schemeClr val="tx1"/>
                </a:solidFill>
              </a:defRPr>
            </a:lvl2pPr>
            <a:lvl3pPr marL="0" indent="0">
              <a:buFont typeface="+mj-lt"/>
              <a:buNone/>
              <a:defRPr sz="1400">
                <a:solidFill>
                  <a:schemeClr val="tx1"/>
                </a:solidFill>
              </a:defRPr>
            </a:lvl3pPr>
            <a:lvl4pPr marL="0" indent="0">
              <a:buFont typeface="+mj-lt"/>
              <a:buNone/>
              <a:defRPr sz="1400">
                <a:solidFill>
                  <a:schemeClr val="tx1"/>
                </a:solidFill>
              </a:defRPr>
            </a:lvl4pPr>
            <a:lvl5pPr marL="0" indent="0">
              <a:buFont typeface="+mj-lt"/>
              <a:buNone/>
              <a:defRPr sz="1400">
                <a:solidFill>
                  <a:schemeClr val="tx1"/>
                </a:solidFill>
              </a:defRPr>
            </a:lvl5pPr>
            <a:lvl6pPr marL="0" indent="0">
              <a:buFont typeface="+mj-lt"/>
              <a:buNone/>
              <a:defRPr sz="1400">
                <a:solidFill>
                  <a:schemeClr val="tx1"/>
                </a:solidFill>
              </a:defRPr>
            </a:lvl6pPr>
            <a:lvl7pPr marL="0" indent="0">
              <a:buFont typeface="+mj-lt"/>
              <a:buNone/>
              <a:defRPr sz="1400">
                <a:solidFill>
                  <a:schemeClr val="tx1"/>
                </a:solidFill>
              </a:defRPr>
            </a:lvl7pPr>
            <a:lvl8pPr marL="0" indent="0">
              <a:buFont typeface="+mj-lt"/>
              <a:buNone/>
              <a:defRPr sz="1400">
                <a:solidFill>
                  <a:schemeClr val="tx1"/>
                </a:solidFill>
              </a:defRPr>
            </a:lvl8pPr>
            <a:lvl9pPr marL="0" indent="0">
              <a:buFont typeface="+mj-lt"/>
              <a:buNone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 dirty="0" smtClean="0"/>
              <a:t>BASIC TEXT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0" name="Bild 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059946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285203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03200" y="1371600"/>
            <a:ext cx="508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86400" y="1371600"/>
            <a:ext cx="508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524006452"/>
      </p:ext>
    </p:extLst>
  </p:cSld>
  <p:clrMapOvr>
    <a:masterClrMapping/>
  </p:clrMapOvr>
  <p:transition spd="med">
    <p:strips dir="rd"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magine 5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1541364" y="2877954"/>
            <a:ext cx="9337920" cy="1564614"/>
          </a:xfrm>
        </p:spPr>
        <p:txBody>
          <a:bodyPr anchor="ctr"/>
          <a:lstStyle>
            <a:lvl1pPr>
              <a:lnSpc>
                <a:spcPct val="80000"/>
              </a:lnSpc>
              <a:defRPr lang="en-US" sz="6000" i="0" u="none" kern="1200" cap="all" spc="-10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41365" y="4501190"/>
            <a:ext cx="933792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18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Immagin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0640" y="6319707"/>
            <a:ext cx="1379035" cy="323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840725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10051887"/>
      </p:ext>
    </p:extLst>
  </p:cSld>
  <p:clrMapOvr>
    <a:masterClrMapping/>
  </p:clrMapOvr>
  <p:transition spd="med">
    <p:strips dir="rd"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5137" y="1065749"/>
            <a:ext cx="10114148" cy="3216228"/>
          </a:xfrm>
        </p:spPr>
        <p:txBody>
          <a:bodyPr anchor="b"/>
          <a:lstStyle>
            <a:lvl1pPr algn="l" defTabSz="121917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it-IT" sz="8000" i="0" u="none" kern="1200" cap="all" spc="-133" dirty="0" smtClean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INSERT YOUR</a:t>
            </a:r>
            <a:br>
              <a:rPr lang="it-IT" dirty="0" smtClean="0"/>
            </a:br>
            <a:r>
              <a:rPr lang="it-IT" dirty="0" smtClean="0"/>
              <a:t>TITLE HERE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6" y="4501189"/>
            <a:ext cx="10114149" cy="438427"/>
          </a:xfrm>
        </p:spPr>
        <p:txBody>
          <a:bodyPr lIns="0" bIns="0" anchor="t">
            <a:noAutofit/>
          </a:bodyPr>
          <a:lstStyle>
            <a:lvl1pPr marL="0" indent="0" algn="l">
              <a:buNone/>
              <a:defRPr sz="24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Immagine 6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4167" y="6298415"/>
            <a:ext cx="1184039" cy="370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61547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ing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tIns="0" rIns="0" anchor="t" anchorCtr="0"/>
          <a:lstStyle>
            <a:lvl1pPr>
              <a:defRPr sz="4267" cap="all" baseline="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6" name="Inhaltsplatzhalter 2"/>
          <p:cNvSpPr>
            <a:spLocks noGrp="1"/>
          </p:cNvSpPr>
          <p:nvPr>
            <p:ph idx="10"/>
          </p:nvPr>
        </p:nvSpPr>
        <p:spPr>
          <a:xfrm>
            <a:off x="804331" y="2126523"/>
            <a:ext cx="10583335" cy="3282951"/>
          </a:xfrm>
        </p:spPr>
        <p:txBody>
          <a:bodyPr/>
          <a:lstStyle>
            <a:lvl1pPr marL="666734" indent="-666734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/>
            </a:lvl1pPr>
            <a:lvl2pPr marL="1310185" indent="-654034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cap="none">
                <a:solidFill>
                  <a:schemeClr val="tx1"/>
                </a:solidFill>
              </a:defRPr>
            </a:lvl2pPr>
            <a:lvl3pPr marL="1909186" indent="-601118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sz="2133">
                <a:solidFill>
                  <a:schemeClr val="tx1"/>
                </a:solidFill>
              </a:defRPr>
            </a:lvl3pPr>
            <a:lvl4pPr marL="1828754" indent="-457189">
              <a:buFont typeface="+mj-lt"/>
              <a:buAutoNum type="arabicPeriod"/>
              <a:defRPr/>
            </a:lvl4pPr>
            <a:lvl5pPr marL="2285943" indent="-457189">
              <a:buFont typeface="+mj-lt"/>
              <a:buAutoNum type="arabicPeriod"/>
              <a:defRPr/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713733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magine 6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2"/>
            <a:ext cx="10109631" cy="2175229"/>
          </a:xfrm>
        </p:spPr>
        <p:txBody>
          <a:bodyPr anchor="b"/>
          <a:lstStyle>
            <a:lvl1pPr algn="ctr">
              <a:lnSpc>
                <a:spcPct val="80000"/>
              </a:lnSpc>
              <a:defRPr lang="en-US" sz="80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SECTION </a:t>
            </a:r>
            <a:br>
              <a:rPr lang="it-IT" dirty="0" smtClean="0"/>
            </a:br>
            <a:r>
              <a:rPr lang="it-IT" dirty="0" smtClean="0"/>
              <a:t>SLIDE</a:t>
            </a:r>
            <a:endParaRPr lang="en-US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700854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2"/>
            <a:ext cx="10109631" cy="2175229"/>
          </a:xfrm>
        </p:spPr>
        <p:txBody>
          <a:bodyPr anchor="t"/>
          <a:lstStyle>
            <a:lvl1pPr algn="ctr">
              <a:lnSpc>
                <a:spcPct val="80000"/>
              </a:lnSpc>
              <a:defRPr lang="en-US" sz="72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de-DE" dirty="0" smtClean="0"/>
              <a:t>STATEMENT </a:t>
            </a:r>
            <a:br>
              <a:rPr lang="de-DE" dirty="0" smtClean="0"/>
            </a:br>
            <a:r>
              <a:rPr lang="de-DE" dirty="0" smtClean="0"/>
              <a:t>CHART FOR IMPORTANT </a:t>
            </a:r>
            <a:br>
              <a:rPr lang="de-DE" dirty="0" smtClean="0"/>
            </a:br>
            <a:r>
              <a:rPr lang="de-DE" dirty="0" smtClean="0"/>
              <a:t>POINTS</a:t>
            </a:r>
            <a:endParaRPr lang="en-US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531185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72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812081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with Background 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9"/>
          <p:cNvPicPr>
            <a:picLocks noChangeAspect="1"/>
          </p:cNvPicPr>
          <p:nvPr userDrawn="1"/>
        </p:nvPicPr>
        <p:blipFill rotWithShape="1">
          <a:blip r:embed="rId2"/>
          <a:srcRect t="-114" b="24638"/>
          <a:stretch/>
        </p:blipFill>
        <p:spPr>
          <a:xfrm>
            <a:off x="0" y="-10332"/>
            <a:ext cx="12192000" cy="6898813"/>
          </a:xfrm>
          <a:prstGeom prst="rect">
            <a:avLst/>
          </a:prstGeom>
        </p:spPr>
      </p:pic>
      <p:sp>
        <p:nvSpPr>
          <p:cNvPr id="8" name="Rechteck 6"/>
          <p:cNvSpPr/>
          <p:nvPr userDrawn="1"/>
        </p:nvSpPr>
        <p:spPr>
          <a:xfrm>
            <a:off x="0" y="1"/>
            <a:ext cx="12192000" cy="6888480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sz="2400" b="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72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602591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1"/>
          <p:cNvPicPr>
            <a:picLocks noChangeAspect="1"/>
          </p:cNvPicPr>
          <p:nvPr userDrawn="1"/>
        </p:nvPicPr>
        <p:blipFill rotWithShape="1">
          <a:blip r:embed="rId2"/>
          <a:srcRect t="-1" r="11734" b="25474"/>
          <a:stretch/>
        </p:blipFill>
        <p:spPr>
          <a:xfrm>
            <a:off x="-1" y="0"/>
            <a:ext cx="12192000" cy="6847368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8000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0" name="Rechteck 6"/>
          <p:cNvSpPr/>
          <p:nvPr userDrawn="1"/>
        </p:nvSpPr>
        <p:spPr>
          <a:xfrm>
            <a:off x="0" y="-13124"/>
            <a:ext cx="12192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sz="2400" b="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80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724146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08273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139414115"/>
      </p:ext>
    </p:extLst>
  </p:cSld>
  <p:clrMapOvr>
    <a:masterClrMapping/>
  </p:clrMapOvr>
  <p:transition spd="med">
    <p:strips dir="rd"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tIns="0" rIns="0" anchor="t" anchorCtr="0"/>
          <a:lstStyle>
            <a:lvl1pPr>
              <a:defRPr sz="4267" cap="all" baseline="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765137" y="1869268"/>
            <a:ext cx="10624217" cy="4055752"/>
          </a:xfrm>
        </p:spPr>
        <p:txBody>
          <a:bodyPr lIns="0" bIns="0"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/>
            </a:lvl4pPr>
            <a:lvl6pPr>
              <a:defRPr sz="2267"/>
            </a:lvl6pPr>
            <a:lvl7pPr marL="239994" indent="-239994">
              <a:buClr>
                <a:schemeClr val="tx2"/>
              </a:buClr>
              <a:buAutoNum type="arabicPeriod"/>
              <a:defRPr lang="it-IT" sz="24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>
              <a:buAutoNum type="arabicPeriod"/>
              <a:defRPr/>
            </a:lvl8pPr>
            <a:lvl9pPr>
              <a:defRPr sz="22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marL="685783" lvl="6" indent="-685783" algn="l" defTabSz="609585" rtl="0" eaLnBrk="1" latinLnBrk="0" hangingPunct="1">
              <a:lnSpc>
                <a:spcPct val="150000"/>
              </a:lnSpc>
              <a:spcBef>
                <a:spcPts val="800"/>
              </a:spcBef>
              <a:buClr>
                <a:schemeClr val="tx2"/>
              </a:buClr>
              <a:buSzPct val="130000"/>
              <a:buFont typeface="+mj-lt"/>
              <a:buAutoNum type="arabicPeriod"/>
            </a:pPr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002540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6" y="1916869"/>
            <a:ext cx="5087024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75673" y="1916869"/>
            <a:ext cx="5113681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55949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on Blac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tangolo 6"/>
          <p:cNvSpPr/>
          <p:nvPr userDrawn="1"/>
        </p:nvSpPr>
        <p:spPr>
          <a:xfrm>
            <a:off x="0" y="0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it-IT" sz="2400" b="0">
              <a:solidFill>
                <a:srgbClr val="000000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0" y="1667389"/>
            <a:ext cx="12192000" cy="3505455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  <p:sp>
        <p:nvSpPr>
          <p:cNvPr id="7" name="Subtitle 2"/>
          <p:cNvSpPr>
            <a:spLocks noGrp="1"/>
          </p:cNvSpPr>
          <p:nvPr>
            <p:ph type="subTitle" idx="12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10" name="Rettangolo 7"/>
          <p:cNvSpPr/>
          <p:nvPr userDrawn="1"/>
        </p:nvSpPr>
        <p:spPr>
          <a:xfrm>
            <a:off x="0" y="5172843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it-IT" sz="2400" b="0">
              <a:solidFill>
                <a:srgbClr val="000000"/>
              </a:solidFill>
            </a:endParaRPr>
          </a:p>
        </p:txBody>
      </p:sp>
      <p:pic>
        <p:nvPicPr>
          <p:cNvPr id="11" name="Bild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201095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Image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916869"/>
            <a:ext cx="3992717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5367453" y="1889351"/>
            <a:ext cx="6824547" cy="4049183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2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965239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Gradient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916869"/>
            <a:ext cx="3992717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2527" y="1995754"/>
            <a:ext cx="6819472" cy="3835953"/>
          </a:xfrm>
          <a:prstGeom prst="rect">
            <a:avLst/>
          </a:prstGeom>
        </p:spPr>
      </p:pic>
      <p:sp>
        <p:nvSpPr>
          <p:cNvPr id="12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5803653" y="3811650"/>
            <a:ext cx="6155715" cy="825759"/>
          </a:xfrm>
        </p:spPr>
        <p:txBody>
          <a:bodyPr anchor="t"/>
          <a:lstStyle>
            <a:lvl1pPr>
              <a:defRPr sz="5333" cap="all" spc="-133">
                <a:solidFill>
                  <a:srgbClr val="FFFFFF"/>
                </a:solidFill>
                <a:latin typeface="Arial Black"/>
                <a:cs typeface="Arial Black"/>
              </a:defRPr>
            </a:lvl1pPr>
            <a:lvl2pPr>
              <a:defRPr sz="5333">
                <a:latin typeface="Arial Black"/>
                <a:cs typeface="Arial Black"/>
              </a:defRPr>
            </a:lvl2pPr>
            <a:lvl3pPr>
              <a:defRPr sz="5333">
                <a:latin typeface="Arial Black"/>
                <a:cs typeface="Arial Black"/>
              </a:defRPr>
            </a:lvl3pPr>
            <a:lvl4pPr>
              <a:defRPr sz="5333">
                <a:latin typeface="Arial Black"/>
                <a:cs typeface="Arial Black"/>
              </a:defRPr>
            </a:lvl4pPr>
            <a:lvl5pPr>
              <a:defRPr sz="5333">
                <a:latin typeface="Arial Black"/>
                <a:cs typeface="Arial Black"/>
              </a:defRPr>
            </a:lvl5pPr>
            <a:lvl6pPr>
              <a:defRPr sz="5333">
                <a:latin typeface="Arial Black"/>
                <a:cs typeface="Arial Black"/>
              </a:defRPr>
            </a:lvl6pPr>
            <a:lvl7pPr>
              <a:defRPr sz="5333">
                <a:latin typeface="Arial Black"/>
                <a:cs typeface="Arial Black"/>
              </a:defRPr>
            </a:lvl7pPr>
            <a:lvl8pPr>
              <a:defRPr sz="5333">
                <a:latin typeface="Arial Black"/>
                <a:cs typeface="Arial Black"/>
              </a:defRPr>
            </a:lvl8pPr>
            <a:lvl9pPr>
              <a:defRPr sz="5333">
                <a:latin typeface="Arial Black"/>
                <a:cs typeface="Arial Black"/>
              </a:defRPr>
            </a:lvl9pPr>
          </a:lstStyle>
          <a:p>
            <a:pPr lv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2" hasCustomPrompt="1"/>
          </p:nvPr>
        </p:nvSpPr>
        <p:spPr>
          <a:xfrm>
            <a:off x="5803653" y="2537359"/>
            <a:ext cx="6155715" cy="426875"/>
          </a:xfrm>
        </p:spPr>
        <p:txBody>
          <a:bodyPr/>
          <a:lstStyle>
            <a:lvl1pPr>
              <a:defRPr sz="2133">
                <a:solidFill>
                  <a:srgbClr val="FFFFFF"/>
                </a:solidFill>
              </a:defRPr>
            </a:lvl1pPr>
            <a:lvl2pPr marL="0" indent="0">
              <a:buFont typeface="+mj-lt"/>
              <a:buNone/>
              <a:defRPr sz="1867">
                <a:solidFill>
                  <a:schemeClr val="tx1"/>
                </a:solidFill>
              </a:defRPr>
            </a:lvl2pPr>
            <a:lvl3pPr marL="0" indent="0">
              <a:buFont typeface="+mj-lt"/>
              <a:buNone/>
              <a:defRPr sz="1867">
                <a:solidFill>
                  <a:schemeClr val="tx1"/>
                </a:solidFill>
              </a:defRPr>
            </a:lvl3pPr>
            <a:lvl4pPr marL="0" indent="0">
              <a:buFont typeface="+mj-lt"/>
              <a:buNone/>
              <a:defRPr sz="1867">
                <a:solidFill>
                  <a:schemeClr val="tx1"/>
                </a:solidFill>
              </a:defRPr>
            </a:lvl4pPr>
            <a:lvl5pPr marL="0" indent="0">
              <a:buFont typeface="+mj-lt"/>
              <a:buNone/>
              <a:defRPr sz="1867">
                <a:solidFill>
                  <a:schemeClr val="tx1"/>
                </a:solidFill>
              </a:defRPr>
            </a:lvl5pPr>
            <a:lvl6pPr marL="0" indent="0">
              <a:buFont typeface="+mj-lt"/>
              <a:buNone/>
              <a:defRPr sz="1867">
                <a:solidFill>
                  <a:schemeClr val="tx1"/>
                </a:solidFill>
              </a:defRPr>
            </a:lvl6pPr>
            <a:lvl7pPr marL="0" indent="0">
              <a:buFont typeface="+mj-lt"/>
              <a:buNone/>
              <a:defRPr sz="1867">
                <a:solidFill>
                  <a:schemeClr val="tx1"/>
                </a:solidFill>
              </a:defRPr>
            </a:lvl7pPr>
            <a:lvl8pPr marL="0" indent="0">
              <a:buFont typeface="+mj-lt"/>
              <a:buNone/>
              <a:defRPr sz="1867">
                <a:solidFill>
                  <a:schemeClr val="tx1"/>
                </a:solidFill>
              </a:defRPr>
            </a:lvl8pPr>
            <a:lvl9pPr marL="0" indent="0">
              <a:buFont typeface="+mj-lt"/>
              <a:buNone/>
              <a:defRPr sz="1867">
                <a:solidFill>
                  <a:schemeClr val="tx1"/>
                </a:solidFill>
              </a:defRPr>
            </a:lvl9pPr>
          </a:lstStyle>
          <a:p>
            <a:pPr lvl="0"/>
            <a:r>
              <a:rPr lang="it-IT" dirty="0" smtClean="0"/>
              <a:t>Basic text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1" name="Bild 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749208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2841421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magine 7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1541364" y="2680306"/>
            <a:ext cx="9337920" cy="1762263"/>
          </a:xfrm>
        </p:spPr>
        <p:txBody>
          <a:bodyPr anchor="ctr"/>
          <a:lstStyle>
            <a:lvl1pPr>
              <a:lnSpc>
                <a:spcPct val="80000"/>
              </a:lnSpc>
              <a:defRPr lang="en-US" sz="80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41364" y="4501189"/>
            <a:ext cx="933792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Immagine 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4167" y="6298415"/>
            <a:ext cx="1184039" cy="370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423899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5137" y="1065749"/>
            <a:ext cx="10114148" cy="3216228"/>
          </a:xfrm>
        </p:spPr>
        <p:txBody>
          <a:bodyPr anchor="b"/>
          <a:lstStyle>
            <a:lvl1pPr algn="l" defTabSz="121917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it-IT" sz="8000" i="0" u="none" kern="1200" cap="all" spc="-133" dirty="0" smtClean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INSERT YOUR</a:t>
            </a:r>
            <a:br>
              <a:rPr lang="it-IT" dirty="0" smtClean="0"/>
            </a:br>
            <a:r>
              <a:rPr lang="it-IT" dirty="0" smtClean="0"/>
              <a:t>TITLE HERE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6" y="4501189"/>
            <a:ext cx="10114149" cy="438427"/>
          </a:xfrm>
        </p:spPr>
        <p:txBody>
          <a:bodyPr lIns="0" bIns="0" anchor="t">
            <a:noAutofit/>
          </a:bodyPr>
          <a:lstStyle>
            <a:lvl1pPr marL="0" indent="0" algn="l">
              <a:buNone/>
              <a:defRPr sz="24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Immagine 6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4167" y="6298415"/>
            <a:ext cx="1184039" cy="370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34541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ing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tIns="0" rIns="0" anchor="t" anchorCtr="0"/>
          <a:lstStyle>
            <a:lvl1pPr>
              <a:defRPr sz="4267" cap="all" baseline="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6" name="Inhaltsplatzhalter 2"/>
          <p:cNvSpPr>
            <a:spLocks noGrp="1"/>
          </p:cNvSpPr>
          <p:nvPr>
            <p:ph idx="10"/>
          </p:nvPr>
        </p:nvSpPr>
        <p:spPr>
          <a:xfrm>
            <a:off x="804331" y="2126523"/>
            <a:ext cx="10583335" cy="3282951"/>
          </a:xfrm>
        </p:spPr>
        <p:txBody>
          <a:bodyPr/>
          <a:lstStyle>
            <a:lvl1pPr marL="666734" indent="-666734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/>
            </a:lvl1pPr>
            <a:lvl2pPr marL="1310185" indent="-654034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cap="none">
                <a:solidFill>
                  <a:schemeClr val="tx1"/>
                </a:solidFill>
              </a:defRPr>
            </a:lvl2pPr>
            <a:lvl3pPr marL="1909186" indent="-601118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sz="2133">
                <a:solidFill>
                  <a:schemeClr val="tx1"/>
                </a:solidFill>
              </a:defRPr>
            </a:lvl3pPr>
            <a:lvl4pPr marL="1828754" indent="-457189">
              <a:buFont typeface="+mj-lt"/>
              <a:buAutoNum type="arabicPeriod"/>
              <a:defRPr/>
            </a:lvl4pPr>
            <a:lvl5pPr marL="2285943" indent="-457189">
              <a:buFont typeface="+mj-lt"/>
              <a:buAutoNum type="arabicPeriod"/>
              <a:defRPr/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291028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magine 6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2"/>
            <a:ext cx="10109631" cy="2175229"/>
          </a:xfrm>
        </p:spPr>
        <p:txBody>
          <a:bodyPr anchor="b"/>
          <a:lstStyle>
            <a:lvl1pPr algn="ctr">
              <a:lnSpc>
                <a:spcPct val="80000"/>
              </a:lnSpc>
              <a:defRPr lang="en-US" sz="80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SECTION </a:t>
            </a:r>
            <a:br>
              <a:rPr lang="it-IT" dirty="0" smtClean="0"/>
            </a:br>
            <a:r>
              <a:rPr lang="it-IT" dirty="0" smtClean="0"/>
              <a:t>SLIDE</a:t>
            </a:r>
            <a:endParaRPr lang="en-US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06186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974929287"/>
      </p:ext>
    </p:extLst>
  </p:cSld>
  <p:clrMapOvr>
    <a:masterClrMapping/>
  </p:clrMapOvr>
  <p:transition spd="med">
    <p:strips dir="rd"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2"/>
            <a:ext cx="10109631" cy="2175229"/>
          </a:xfrm>
        </p:spPr>
        <p:txBody>
          <a:bodyPr anchor="t"/>
          <a:lstStyle>
            <a:lvl1pPr algn="ctr">
              <a:lnSpc>
                <a:spcPct val="80000"/>
              </a:lnSpc>
              <a:defRPr lang="en-US" sz="72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de-DE" dirty="0" smtClean="0"/>
              <a:t>STATEMENT </a:t>
            </a:r>
            <a:br>
              <a:rPr lang="de-DE" dirty="0" smtClean="0"/>
            </a:br>
            <a:r>
              <a:rPr lang="de-DE" dirty="0" smtClean="0"/>
              <a:t>CHART FOR IMPORTANT </a:t>
            </a:r>
            <a:br>
              <a:rPr lang="de-DE" dirty="0" smtClean="0"/>
            </a:br>
            <a:r>
              <a:rPr lang="de-DE" dirty="0" smtClean="0"/>
              <a:t>POINTS</a:t>
            </a:r>
            <a:endParaRPr lang="en-US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695115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72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038854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with Background 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9"/>
          <p:cNvPicPr>
            <a:picLocks noChangeAspect="1"/>
          </p:cNvPicPr>
          <p:nvPr userDrawn="1"/>
        </p:nvPicPr>
        <p:blipFill rotWithShape="1">
          <a:blip r:embed="rId2"/>
          <a:srcRect t="-114" b="24638"/>
          <a:stretch/>
        </p:blipFill>
        <p:spPr>
          <a:xfrm>
            <a:off x="0" y="-10332"/>
            <a:ext cx="12192000" cy="6898813"/>
          </a:xfrm>
          <a:prstGeom prst="rect">
            <a:avLst/>
          </a:prstGeom>
        </p:spPr>
      </p:pic>
      <p:sp>
        <p:nvSpPr>
          <p:cNvPr id="8" name="Rechteck 6"/>
          <p:cNvSpPr/>
          <p:nvPr userDrawn="1"/>
        </p:nvSpPr>
        <p:spPr>
          <a:xfrm>
            <a:off x="0" y="1"/>
            <a:ext cx="12192000" cy="6888480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sz="2400" b="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72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657575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1"/>
          <p:cNvPicPr>
            <a:picLocks noChangeAspect="1"/>
          </p:cNvPicPr>
          <p:nvPr userDrawn="1"/>
        </p:nvPicPr>
        <p:blipFill rotWithShape="1">
          <a:blip r:embed="rId2"/>
          <a:srcRect t="-1" r="11734" b="25474"/>
          <a:stretch/>
        </p:blipFill>
        <p:spPr>
          <a:xfrm>
            <a:off x="-1" y="0"/>
            <a:ext cx="12192000" cy="6847368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8000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0" name="Rechteck 6"/>
          <p:cNvSpPr/>
          <p:nvPr userDrawn="1"/>
        </p:nvSpPr>
        <p:spPr>
          <a:xfrm>
            <a:off x="0" y="-13124"/>
            <a:ext cx="12192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sz="2400" b="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80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253742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53493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tIns="0" rIns="0" anchor="t" anchorCtr="0"/>
          <a:lstStyle>
            <a:lvl1pPr>
              <a:defRPr sz="4267" cap="all" baseline="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765137" y="1869268"/>
            <a:ext cx="10624217" cy="4055752"/>
          </a:xfrm>
        </p:spPr>
        <p:txBody>
          <a:bodyPr lIns="0" bIns="0"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/>
            </a:lvl4pPr>
            <a:lvl6pPr>
              <a:defRPr sz="2267"/>
            </a:lvl6pPr>
            <a:lvl7pPr marL="239994" indent="-239994">
              <a:buClr>
                <a:schemeClr val="tx2"/>
              </a:buClr>
              <a:buAutoNum type="arabicPeriod"/>
              <a:defRPr lang="it-IT" sz="24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>
              <a:buAutoNum type="arabicPeriod"/>
              <a:defRPr/>
            </a:lvl8pPr>
            <a:lvl9pPr>
              <a:defRPr sz="22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marL="685783" lvl="6" indent="-685783" algn="l" defTabSz="609585" rtl="0" eaLnBrk="1" latinLnBrk="0" hangingPunct="1">
              <a:lnSpc>
                <a:spcPct val="150000"/>
              </a:lnSpc>
              <a:spcBef>
                <a:spcPts val="800"/>
              </a:spcBef>
              <a:buClr>
                <a:schemeClr val="tx2"/>
              </a:buClr>
              <a:buSzPct val="130000"/>
              <a:buFont typeface="+mj-lt"/>
              <a:buAutoNum type="arabicPeriod"/>
            </a:pPr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598423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6" y="1916869"/>
            <a:ext cx="5087024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75673" y="1916869"/>
            <a:ext cx="5113681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619486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on Blac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tangolo 6"/>
          <p:cNvSpPr/>
          <p:nvPr userDrawn="1"/>
        </p:nvSpPr>
        <p:spPr>
          <a:xfrm>
            <a:off x="0" y="0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it-IT" sz="2400" b="0">
              <a:solidFill>
                <a:srgbClr val="000000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0" y="1667389"/>
            <a:ext cx="12192000" cy="3505455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  <p:sp>
        <p:nvSpPr>
          <p:cNvPr id="7" name="Subtitle 2"/>
          <p:cNvSpPr>
            <a:spLocks noGrp="1"/>
          </p:cNvSpPr>
          <p:nvPr>
            <p:ph type="subTitle" idx="12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10" name="Rettangolo 7"/>
          <p:cNvSpPr/>
          <p:nvPr userDrawn="1"/>
        </p:nvSpPr>
        <p:spPr>
          <a:xfrm>
            <a:off x="0" y="5172843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it-IT" sz="2400" b="0">
              <a:solidFill>
                <a:srgbClr val="000000"/>
              </a:solidFill>
            </a:endParaRPr>
          </a:p>
        </p:txBody>
      </p:sp>
      <p:pic>
        <p:nvPicPr>
          <p:cNvPr id="11" name="Bild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096228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Image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916869"/>
            <a:ext cx="3992717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5367453" y="1889351"/>
            <a:ext cx="6824547" cy="4049183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2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249705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Gradient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916869"/>
            <a:ext cx="3992717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2527" y="1995754"/>
            <a:ext cx="6819472" cy="3835953"/>
          </a:xfrm>
          <a:prstGeom prst="rect">
            <a:avLst/>
          </a:prstGeom>
        </p:spPr>
      </p:pic>
      <p:sp>
        <p:nvSpPr>
          <p:cNvPr id="12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5803653" y="3811650"/>
            <a:ext cx="6155715" cy="825759"/>
          </a:xfrm>
        </p:spPr>
        <p:txBody>
          <a:bodyPr anchor="t"/>
          <a:lstStyle>
            <a:lvl1pPr>
              <a:defRPr sz="5333" cap="all" spc="-133">
                <a:solidFill>
                  <a:srgbClr val="FFFFFF"/>
                </a:solidFill>
                <a:latin typeface="Arial Black"/>
                <a:cs typeface="Arial Black"/>
              </a:defRPr>
            </a:lvl1pPr>
            <a:lvl2pPr>
              <a:defRPr sz="5333">
                <a:latin typeface="Arial Black"/>
                <a:cs typeface="Arial Black"/>
              </a:defRPr>
            </a:lvl2pPr>
            <a:lvl3pPr>
              <a:defRPr sz="5333">
                <a:latin typeface="Arial Black"/>
                <a:cs typeface="Arial Black"/>
              </a:defRPr>
            </a:lvl3pPr>
            <a:lvl4pPr>
              <a:defRPr sz="5333">
                <a:latin typeface="Arial Black"/>
                <a:cs typeface="Arial Black"/>
              </a:defRPr>
            </a:lvl4pPr>
            <a:lvl5pPr>
              <a:defRPr sz="5333">
                <a:latin typeface="Arial Black"/>
                <a:cs typeface="Arial Black"/>
              </a:defRPr>
            </a:lvl5pPr>
            <a:lvl6pPr>
              <a:defRPr sz="5333">
                <a:latin typeface="Arial Black"/>
                <a:cs typeface="Arial Black"/>
              </a:defRPr>
            </a:lvl6pPr>
            <a:lvl7pPr>
              <a:defRPr sz="5333">
                <a:latin typeface="Arial Black"/>
                <a:cs typeface="Arial Black"/>
              </a:defRPr>
            </a:lvl7pPr>
            <a:lvl8pPr>
              <a:defRPr sz="5333">
                <a:latin typeface="Arial Black"/>
                <a:cs typeface="Arial Black"/>
              </a:defRPr>
            </a:lvl8pPr>
            <a:lvl9pPr>
              <a:defRPr sz="5333">
                <a:latin typeface="Arial Black"/>
                <a:cs typeface="Arial Black"/>
              </a:defRPr>
            </a:lvl9pPr>
          </a:lstStyle>
          <a:p>
            <a:pPr lv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2" hasCustomPrompt="1"/>
          </p:nvPr>
        </p:nvSpPr>
        <p:spPr>
          <a:xfrm>
            <a:off x="5803653" y="2537359"/>
            <a:ext cx="6155715" cy="426875"/>
          </a:xfrm>
        </p:spPr>
        <p:txBody>
          <a:bodyPr/>
          <a:lstStyle>
            <a:lvl1pPr>
              <a:defRPr sz="2133">
                <a:solidFill>
                  <a:srgbClr val="FFFFFF"/>
                </a:solidFill>
              </a:defRPr>
            </a:lvl1pPr>
            <a:lvl2pPr marL="0" indent="0">
              <a:buFont typeface="+mj-lt"/>
              <a:buNone/>
              <a:defRPr sz="1867">
                <a:solidFill>
                  <a:schemeClr val="tx1"/>
                </a:solidFill>
              </a:defRPr>
            </a:lvl2pPr>
            <a:lvl3pPr marL="0" indent="0">
              <a:buFont typeface="+mj-lt"/>
              <a:buNone/>
              <a:defRPr sz="1867">
                <a:solidFill>
                  <a:schemeClr val="tx1"/>
                </a:solidFill>
              </a:defRPr>
            </a:lvl3pPr>
            <a:lvl4pPr marL="0" indent="0">
              <a:buFont typeface="+mj-lt"/>
              <a:buNone/>
              <a:defRPr sz="1867">
                <a:solidFill>
                  <a:schemeClr val="tx1"/>
                </a:solidFill>
              </a:defRPr>
            </a:lvl4pPr>
            <a:lvl5pPr marL="0" indent="0">
              <a:buFont typeface="+mj-lt"/>
              <a:buNone/>
              <a:defRPr sz="1867">
                <a:solidFill>
                  <a:schemeClr val="tx1"/>
                </a:solidFill>
              </a:defRPr>
            </a:lvl5pPr>
            <a:lvl6pPr marL="0" indent="0">
              <a:buFont typeface="+mj-lt"/>
              <a:buNone/>
              <a:defRPr sz="1867">
                <a:solidFill>
                  <a:schemeClr val="tx1"/>
                </a:solidFill>
              </a:defRPr>
            </a:lvl6pPr>
            <a:lvl7pPr marL="0" indent="0">
              <a:buFont typeface="+mj-lt"/>
              <a:buNone/>
              <a:defRPr sz="1867">
                <a:solidFill>
                  <a:schemeClr val="tx1"/>
                </a:solidFill>
              </a:defRPr>
            </a:lvl7pPr>
            <a:lvl8pPr marL="0" indent="0">
              <a:buFont typeface="+mj-lt"/>
              <a:buNone/>
              <a:defRPr sz="1867">
                <a:solidFill>
                  <a:schemeClr val="tx1"/>
                </a:solidFill>
              </a:defRPr>
            </a:lvl8pPr>
            <a:lvl9pPr marL="0" indent="0">
              <a:buFont typeface="+mj-lt"/>
              <a:buNone/>
              <a:defRPr sz="1867">
                <a:solidFill>
                  <a:schemeClr val="tx1"/>
                </a:solidFill>
              </a:defRPr>
            </a:lvl9pPr>
          </a:lstStyle>
          <a:p>
            <a:pPr lvl="0"/>
            <a:r>
              <a:rPr lang="it-IT" dirty="0" smtClean="0"/>
              <a:t>Basic text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1" name="Bild 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51011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81348115"/>
      </p:ext>
    </p:extLst>
  </p:cSld>
  <p:clrMapOvr>
    <a:masterClrMapping/>
  </p:clrMapOvr>
  <p:transition spd="med">
    <p:strips dir="rd"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1062240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magine 7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1541364" y="2680306"/>
            <a:ext cx="9337920" cy="1762263"/>
          </a:xfrm>
        </p:spPr>
        <p:txBody>
          <a:bodyPr anchor="ctr"/>
          <a:lstStyle>
            <a:lvl1pPr>
              <a:lnSpc>
                <a:spcPct val="80000"/>
              </a:lnSpc>
              <a:defRPr lang="en-US" sz="80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41364" y="4501189"/>
            <a:ext cx="933792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Immagine 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4167" y="6298415"/>
            <a:ext cx="1184039" cy="370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44807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15745735"/>
      </p:ext>
    </p:extLst>
  </p:cSld>
  <p:clrMapOvr>
    <a:masterClrMapping/>
  </p:clrMapOvr>
  <p:transition spd="med">
    <p:strips dir="rd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it-IT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8196655"/>
      </p:ext>
    </p:extLst>
  </p:cSld>
  <p:clrMapOvr>
    <a:masterClrMapping/>
  </p:clrMapOvr>
  <p:transition spd="med">
    <p:strips dir="rd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27.xml"/><Relationship Id="rId16" Type="http://schemas.openxmlformats.org/officeDocument/2006/relationships/slideLayout" Target="../slideLayouts/slideLayout41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5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slideLayout" Target="../slideLayouts/slideLayout3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slideLayout" Target="../slideLayouts/slideLayout54.xml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3.xml"/><Relationship Id="rId2" Type="http://schemas.openxmlformats.org/officeDocument/2006/relationships/slideLayout" Target="../slideLayouts/slideLayout43.xml"/><Relationship Id="rId16" Type="http://schemas.openxmlformats.org/officeDocument/2006/relationships/theme" Target="../theme/theme4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5" Type="http://schemas.openxmlformats.org/officeDocument/2006/relationships/slideLayout" Target="../slideLayouts/slideLayout46.xml"/><Relationship Id="rId15" Type="http://schemas.openxmlformats.org/officeDocument/2006/relationships/slideLayout" Target="../slideLayouts/slideLayout56.xml"/><Relationship Id="rId10" Type="http://schemas.openxmlformats.org/officeDocument/2006/relationships/slideLayout" Target="../slideLayouts/slideLayout51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slideLayout" Target="../slideLayouts/slideLayout5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13" Type="http://schemas.openxmlformats.org/officeDocument/2006/relationships/slideLayout" Target="../slideLayouts/slideLayout69.xml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12" Type="http://schemas.openxmlformats.org/officeDocument/2006/relationships/slideLayout" Target="../slideLayouts/slideLayout68.xml"/><Relationship Id="rId2" Type="http://schemas.openxmlformats.org/officeDocument/2006/relationships/slideLayout" Target="../slideLayouts/slideLayout58.xml"/><Relationship Id="rId16" Type="http://schemas.openxmlformats.org/officeDocument/2006/relationships/theme" Target="../theme/theme5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slideLayout" Target="../slideLayouts/slideLayout67.xml"/><Relationship Id="rId5" Type="http://schemas.openxmlformats.org/officeDocument/2006/relationships/slideLayout" Target="../slideLayouts/slideLayout61.xml"/><Relationship Id="rId15" Type="http://schemas.openxmlformats.org/officeDocument/2006/relationships/slideLayout" Target="../slideLayouts/slideLayout71.xml"/><Relationship Id="rId10" Type="http://schemas.openxmlformats.org/officeDocument/2006/relationships/slideLayout" Target="../slideLayouts/slideLayout66.xml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Relationship Id="rId14" Type="http://schemas.openxmlformats.org/officeDocument/2006/relationships/slideLayout" Target="../slideLayouts/slideLayout7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03200" y="1371600"/>
            <a:ext cx="103632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altLang="it-IT" smtClean="0"/>
              <a:t>Fare clic per modificare gli stili del testo dello schema</a:t>
            </a:r>
          </a:p>
          <a:p>
            <a:pPr lvl="1"/>
            <a:r>
              <a:rPr lang="it-IT" altLang="it-IT" smtClean="0"/>
              <a:t>Secondo livello</a:t>
            </a:r>
          </a:p>
          <a:p>
            <a:pPr lvl="2"/>
            <a:r>
              <a:rPr lang="it-IT" altLang="it-IT" smtClean="0"/>
              <a:t>Terzo livello</a:t>
            </a:r>
          </a:p>
        </p:txBody>
      </p:sp>
      <p:sp>
        <p:nvSpPr>
          <p:cNvPr id="2" name="Rettangolo 1"/>
          <p:cNvSpPr/>
          <p:nvPr userDrawn="1"/>
        </p:nvSpPr>
        <p:spPr>
          <a:xfrm>
            <a:off x="217095" y="6137095"/>
            <a:ext cx="38023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3005305-56AA-41FB-8E52-9E09D388040D}" type="slidenum">
              <a:rPr lang="it-IT" sz="1100" smtClean="0">
                <a:solidFill>
                  <a:srgbClr val="000000"/>
                </a:solidFill>
              </a:rPr>
              <a:pPr/>
              <a:t>‹N›</a:t>
            </a:fld>
            <a:endParaRPr lang="it-IT" sz="1100" dirty="0"/>
          </a:p>
        </p:txBody>
      </p:sp>
      <p:pic>
        <p:nvPicPr>
          <p:cNvPr id="5" name="Bild 5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2" r:id="rId3"/>
    <p:sldLayoutId id="2147483653" r:id="rId4"/>
    <p:sldLayoutId id="2147483654" r:id="rId5"/>
    <p:sldLayoutId id="2147483655" r:id="rId6"/>
    <p:sldLayoutId id="2147483656" r:id="rId7"/>
    <p:sldLayoutId id="2147483657" r:id="rId8"/>
    <p:sldLayoutId id="2147483658" r:id="rId9"/>
    <p:sldLayoutId id="2147483659" r:id="rId10"/>
    <p:sldLayoutId id="2147483660" r:id="rId11"/>
    <p:sldLayoutId id="2147483661" r:id="rId12"/>
  </p:sldLayoutIdLst>
  <p:transition spd="med">
    <p:strips dir="rd"/>
  </p:transition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2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03200" y="1371600"/>
            <a:ext cx="103632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altLang="it-IT" smtClean="0"/>
              <a:t>Fare clic per modificare gli stili del testo dello schema</a:t>
            </a:r>
          </a:p>
          <a:p>
            <a:pPr lvl="1"/>
            <a:r>
              <a:rPr lang="it-IT" altLang="it-IT" smtClean="0"/>
              <a:t>Secondo livello</a:t>
            </a:r>
          </a:p>
          <a:p>
            <a:pPr lvl="2"/>
            <a:r>
              <a:rPr lang="it-IT" altLang="it-IT" smtClean="0"/>
              <a:t>Terzo livello</a:t>
            </a:r>
          </a:p>
        </p:txBody>
      </p:sp>
      <p:pic>
        <p:nvPicPr>
          <p:cNvPr id="4" name="Picture 2" descr="C:\MARKETING\PROGETTI\PPT REPLY TEMPLATE\elements\omini tutti colori 3d\green\reply_3d.png"/>
          <p:cNvPicPr>
            <a:picLocks noChangeAspect="1" noChangeArrowheads="1"/>
          </p:cNvPicPr>
          <p:nvPr userDrawn="1"/>
        </p:nvPicPr>
        <p:blipFill>
          <a:blip r:embed="rId15"/>
          <a:stretch>
            <a:fillRect/>
          </a:stretch>
        </p:blipFill>
        <p:spPr bwMode="auto">
          <a:xfrm>
            <a:off x="11103710" y="6039136"/>
            <a:ext cx="885377" cy="71913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76516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  <p:sldLayoutId id="2147483675" r:id="rId12"/>
    <p:sldLayoutId id="2147483676" r:id="rId13"/>
  </p:sldLayoutIdLst>
  <p:transition spd="med">
    <p:strips dir="rd"/>
  </p:transition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2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428645"/>
            <a:ext cx="10972800" cy="745639"/>
          </a:xfrm>
          <a:prstGeom prst="rect">
            <a:avLst/>
          </a:prstGeom>
        </p:spPr>
        <p:txBody>
          <a:bodyPr vert="horz" lIns="0" tIns="45720" rIns="91440" bIns="0" rtlCol="0" anchor="t">
            <a:noAutofit/>
          </a:bodyPr>
          <a:lstStyle/>
          <a:p>
            <a:r>
              <a:rPr lang="it-IT" dirty="0" smtClean="0"/>
              <a:t>CLICK TO CHANG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2"/>
            <a:ext cx="109728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8672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  <p:sldLayoutId id="2147483690" r:id="rId12"/>
    <p:sldLayoutId id="2147483691" r:id="rId13"/>
    <p:sldLayoutId id="2147483692" r:id="rId14"/>
    <p:sldLayoutId id="2147483693" r:id="rId15"/>
    <p:sldLayoutId id="2147483694" r:id="rId16"/>
  </p:sldLayoutIdLst>
  <p:hf sldNum="0" hdr="0" ftr="0" dt="0"/>
  <p:txStyles>
    <p:titleStyle>
      <a:lvl1pPr algn="ctr" defTabSz="914400" rtl="0" eaLnBrk="1" latinLnBrk="0" hangingPunct="1">
        <a:lnSpc>
          <a:spcPct val="80000"/>
        </a:lnSpc>
        <a:spcBef>
          <a:spcPct val="0"/>
        </a:spcBef>
        <a:buNone/>
        <a:defRPr sz="3200" kern="1200">
          <a:solidFill>
            <a:schemeClr val="tx1"/>
          </a:solidFill>
          <a:latin typeface="Arial Black" panose="020B0A04020102020204" pitchFamily="34" charset="0"/>
          <a:ea typeface="+mj-ea"/>
          <a:cs typeface="Arial Black" panose="020B0A040201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600"/>
        </a:spcAft>
        <a:buFont typeface="Arial" pitchFamily="34" charset="0"/>
        <a:buNone/>
        <a:defRPr sz="1800" b="0" i="0" kern="1200" cap="all">
          <a:solidFill>
            <a:schemeClr val="tx2"/>
          </a:solidFill>
          <a:latin typeface="Arial"/>
          <a:ea typeface="+mn-ea"/>
          <a:cs typeface="Arial"/>
        </a:defRPr>
      </a:lvl2pPr>
      <a:lvl3pPr marL="0" indent="0" algn="l" defTabSz="914400" rtl="0" eaLnBrk="1" latinLnBrk="0" hangingPunct="1">
        <a:lnSpc>
          <a:spcPct val="120000"/>
        </a:lnSpc>
        <a:spcBef>
          <a:spcPts val="600"/>
        </a:spcBef>
        <a:buFont typeface="Arial" pitchFamily="34" charset="0"/>
        <a:buNone/>
        <a:defRPr sz="1800" b="0" i="0" kern="1200">
          <a:solidFill>
            <a:schemeClr val="tx2"/>
          </a:solidFill>
          <a:latin typeface="Arial"/>
          <a:ea typeface="+mn-ea"/>
          <a:cs typeface="Arial"/>
        </a:defRPr>
      </a:lvl3pPr>
      <a:lvl4pPr marL="18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SzPct val="130000"/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-180000" algn="l" defTabSz="457200" rtl="0" eaLnBrk="1" latinLnBrk="0" hangingPunct="1">
        <a:lnSpc>
          <a:spcPct val="150000"/>
        </a:lnSpc>
        <a:spcBef>
          <a:spcPts val="600"/>
        </a:spcBef>
        <a:buClr>
          <a:schemeClr val="tx2"/>
        </a:buClr>
        <a:buSzPct val="130000"/>
        <a:buFont typeface="+mj-lt"/>
        <a:buAutoNum type="arabicPeriod"/>
        <a:defRPr lang="it-IT" sz="1800" kern="1200" baseline="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36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54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+mj-lt"/>
        <a:buAutoNum type="arabicPeriod"/>
        <a:defRPr sz="17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0" tIns="45720" rIns="91440" bIns="0" rtlCol="0" anchor="t">
            <a:noAutofit/>
          </a:bodyPr>
          <a:lstStyle/>
          <a:p>
            <a:r>
              <a:rPr lang="it-IT" dirty="0" smtClean="0"/>
              <a:t>CLICK TO CHANG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35709"/>
            <a:ext cx="109728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st </a:t>
            </a:r>
            <a:r>
              <a:rPr lang="it-IT" dirty="0" err="1" smtClean="0"/>
              <a:t>numbered</a:t>
            </a:r>
            <a:r>
              <a:rPr lang="it-IT" smtClean="0"/>
              <a:t> text</a:t>
            </a:r>
            <a:endParaRPr lang="it-IT" dirty="0" smtClean="0"/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374780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  <p:sldLayoutId id="2147483708" r:id="rId12"/>
    <p:sldLayoutId id="2147483709" r:id="rId13"/>
    <p:sldLayoutId id="2147483710" r:id="rId14"/>
    <p:sldLayoutId id="2147483711" r:id="rId15"/>
  </p:sldLayoutIdLst>
  <p:hf sldNum="0" hdr="0" ftr="0" dt="0"/>
  <p:txStyles>
    <p:titleStyle>
      <a:lvl1pPr algn="ctr" defTabSz="1219170" rtl="0" eaLnBrk="1" latinLnBrk="0" hangingPunct="1">
        <a:lnSpc>
          <a:spcPct val="80000"/>
        </a:lnSpc>
        <a:spcBef>
          <a:spcPct val="0"/>
        </a:spcBef>
        <a:buNone/>
        <a:defRPr sz="4267" kern="1200">
          <a:solidFill>
            <a:schemeClr val="tx1"/>
          </a:solidFill>
          <a:latin typeface="Arial Black" panose="020B0A04020102020204" pitchFamily="34" charset="0"/>
          <a:ea typeface="+mj-ea"/>
          <a:cs typeface="Arial Black" panose="020B0A04020102020204" pitchFamily="34" charset="0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800"/>
        </a:spcBef>
        <a:buFont typeface="Arial" pitchFamily="34" charset="0"/>
        <a:buNone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lnSpc>
          <a:spcPct val="100000"/>
        </a:lnSpc>
        <a:spcBef>
          <a:spcPts val="1600"/>
        </a:spcBef>
        <a:spcAft>
          <a:spcPts val="800"/>
        </a:spcAft>
        <a:buFont typeface="Arial" pitchFamily="34" charset="0"/>
        <a:buNone/>
        <a:defRPr sz="2400" b="0" i="0" kern="1200" cap="all">
          <a:solidFill>
            <a:schemeClr val="tx2"/>
          </a:solidFill>
          <a:latin typeface="Arial"/>
          <a:ea typeface="+mn-ea"/>
          <a:cs typeface="Arial"/>
        </a:defRPr>
      </a:lvl2pPr>
      <a:lvl3pPr marL="0" indent="0" algn="l" defTabSz="1219170" rtl="0" eaLnBrk="1" latinLnBrk="0" hangingPunct="1">
        <a:lnSpc>
          <a:spcPct val="120000"/>
        </a:lnSpc>
        <a:spcBef>
          <a:spcPts val="800"/>
        </a:spcBef>
        <a:buFont typeface="Arial" pitchFamily="34" charset="0"/>
        <a:buNone/>
        <a:defRPr sz="1867" b="0" i="0" kern="1200">
          <a:solidFill>
            <a:schemeClr val="tx2"/>
          </a:solidFill>
          <a:latin typeface="Arial"/>
          <a:ea typeface="+mn-ea"/>
          <a:cs typeface="Arial"/>
        </a:defRPr>
      </a:lvl3pPr>
      <a:lvl4pPr marL="239994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SzPct val="130000"/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479988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719982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239994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SzPct val="130000"/>
        <a:buFont typeface="+mj-lt"/>
        <a:buAutoNum type="arabicPeriod"/>
        <a:defRPr lang="it-IT" sz="2400" kern="1200" baseline="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479988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+mj-lt"/>
        <a:buAutoNum type="arabicPeriod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719982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+mj-lt"/>
        <a:buAutoNum type="arabicPeriod"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0" tIns="45720" rIns="91440" bIns="0" rtlCol="0" anchor="t">
            <a:noAutofit/>
          </a:bodyPr>
          <a:lstStyle/>
          <a:p>
            <a:r>
              <a:rPr lang="it-IT" dirty="0" smtClean="0"/>
              <a:t>CLICK TO CHANG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35709"/>
            <a:ext cx="109728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st </a:t>
            </a:r>
            <a:r>
              <a:rPr lang="it-IT" dirty="0" err="1" smtClean="0"/>
              <a:t>numbered</a:t>
            </a:r>
            <a:r>
              <a:rPr lang="it-IT" smtClean="0"/>
              <a:t> text</a:t>
            </a:r>
            <a:endParaRPr lang="it-IT" dirty="0" smtClean="0"/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32182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</p:sldLayoutIdLst>
  <p:hf sldNum="0" hdr="0" ftr="0" dt="0"/>
  <p:txStyles>
    <p:titleStyle>
      <a:lvl1pPr algn="ctr" defTabSz="1219170" rtl="0" eaLnBrk="1" latinLnBrk="0" hangingPunct="1">
        <a:lnSpc>
          <a:spcPct val="80000"/>
        </a:lnSpc>
        <a:spcBef>
          <a:spcPct val="0"/>
        </a:spcBef>
        <a:buNone/>
        <a:defRPr sz="4267" kern="1200">
          <a:solidFill>
            <a:schemeClr val="tx1"/>
          </a:solidFill>
          <a:latin typeface="Arial Black" panose="020B0A04020102020204" pitchFamily="34" charset="0"/>
          <a:ea typeface="+mj-ea"/>
          <a:cs typeface="Arial Black" panose="020B0A04020102020204" pitchFamily="34" charset="0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800"/>
        </a:spcBef>
        <a:buFont typeface="Arial" pitchFamily="34" charset="0"/>
        <a:buNone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lnSpc>
          <a:spcPct val="100000"/>
        </a:lnSpc>
        <a:spcBef>
          <a:spcPts val="1600"/>
        </a:spcBef>
        <a:spcAft>
          <a:spcPts val="800"/>
        </a:spcAft>
        <a:buFont typeface="Arial" pitchFamily="34" charset="0"/>
        <a:buNone/>
        <a:defRPr sz="2400" b="0" i="0" kern="1200" cap="all">
          <a:solidFill>
            <a:schemeClr val="tx2"/>
          </a:solidFill>
          <a:latin typeface="Arial"/>
          <a:ea typeface="+mn-ea"/>
          <a:cs typeface="Arial"/>
        </a:defRPr>
      </a:lvl2pPr>
      <a:lvl3pPr marL="0" indent="0" algn="l" defTabSz="1219170" rtl="0" eaLnBrk="1" latinLnBrk="0" hangingPunct="1">
        <a:lnSpc>
          <a:spcPct val="120000"/>
        </a:lnSpc>
        <a:spcBef>
          <a:spcPts val="800"/>
        </a:spcBef>
        <a:buFont typeface="Arial" pitchFamily="34" charset="0"/>
        <a:buNone/>
        <a:defRPr sz="1867" b="0" i="0" kern="1200">
          <a:solidFill>
            <a:schemeClr val="tx2"/>
          </a:solidFill>
          <a:latin typeface="Arial"/>
          <a:ea typeface="+mn-ea"/>
          <a:cs typeface="Arial"/>
        </a:defRPr>
      </a:lvl3pPr>
      <a:lvl4pPr marL="239994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SzPct val="130000"/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479988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719982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239994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SzPct val="130000"/>
        <a:buFont typeface="+mj-lt"/>
        <a:buAutoNum type="arabicPeriod"/>
        <a:defRPr lang="it-IT" sz="2400" kern="1200" baseline="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479988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+mj-lt"/>
        <a:buAutoNum type="arabicPeriod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719982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+mj-lt"/>
        <a:buAutoNum type="arabicPeriod"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hyperlink" Target="mailto:c.castelli@reply.eu" TargetMode="External"/><Relationship Id="rId1" Type="http://schemas.openxmlformats.org/officeDocument/2006/relationships/slideLayout" Target="../slideLayouts/slideLayout7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4" Type="http://schemas.openxmlformats.org/officeDocument/2006/relationships/chart" Target="../charts/char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olo 1"/>
          <p:cNvSpPr txBox="1">
            <a:spLocks/>
          </p:cNvSpPr>
          <p:nvPr/>
        </p:nvSpPr>
        <p:spPr>
          <a:xfrm>
            <a:off x="1343472" y="1570936"/>
            <a:ext cx="7091866" cy="3216228"/>
          </a:xfrm>
          <a:prstGeom prst="rect">
            <a:avLst/>
          </a:prstGeom>
        </p:spPr>
        <p:txBody>
          <a:bodyPr vert="horz" lIns="0" tIns="45720" rIns="91440" bIns="0" rtlCol="0" anchor="b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6000" i="0" u="none" kern="1200" cap="all" spc="-100" dirty="0">
                <a:solidFill>
                  <a:schemeClr val="bg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it-IT" sz="4400" b="0" dirty="0">
                <a:solidFill>
                  <a:srgbClr val="FFFFFF"/>
                </a:solidFill>
              </a:rPr>
              <a:t>PRESENTAZIONE </a:t>
            </a:r>
            <a:endParaRPr lang="it-IT" sz="4400" b="0" dirty="0" smtClean="0">
              <a:solidFill>
                <a:srgbClr val="FFFFFF"/>
              </a:solidFill>
            </a:endParaRPr>
          </a:p>
          <a:p>
            <a:pPr fontAlgn="auto">
              <a:spcAft>
                <a:spcPts val="0"/>
              </a:spcAft>
            </a:pPr>
            <a:r>
              <a:rPr lang="it-IT" sz="4400" b="0" dirty="0" smtClean="0">
                <a:solidFill>
                  <a:srgbClr val="FFFFFF"/>
                </a:solidFill>
              </a:rPr>
              <a:t>DATI MAGGIO 2018</a:t>
            </a:r>
            <a:r>
              <a:rPr lang="it-IT" sz="4400" b="0" dirty="0">
                <a:solidFill>
                  <a:srgbClr val="FFFFFF"/>
                </a:solidFill>
              </a:rPr>
              <a:t/>
            </a:r>
            <a:br>
              <a:rPr lang="it-IT" sz="4400" b="0" dirty="0">
                <a:solidFill>
                  <a:srgbClr val="FFFFFF"/>
                </a:solidFill>
              </a:rPr>
            </a:br>
            <a:endParaRPr lang="it-IT" sz="2000" b="0" dirty="0" smtClean="0">
              <a:solidFill>
                <a:srgbClr val="FFFFFF"/>
              </a:solidFill>
            </a:endParaRPr>
          </a:p>
          <a:p>
            <a:pPr fontAlgn="auto">
              <a:spcAft>
                <a:spcPts val="0"/>
              </a:spcAft>
            </a:pPr>
            <a:r>
              <a:rPr lang="it-IT" sz="4400" b="0" dirty="0" smtClean="0">
                <a:solidFill>
                  <a:srgbClr val="FFFFFF"/>
                </a:solidFill>
              </a:rPr>
              <a:t>OSSERVATORIO - FCP </a:t>
            </a:r>
          </a:p>
          <a:p>
            <a:pPr fontAlgn="auto">
              <a:spcAft>
                <a:spcPts val="0"/>
              </a:spcAft>
            </a:pPr>
            <a:r>
              <a:rPr lang="it-IT" sz="4400" b="0" dirty="0" smtClean="0">
                <a:solidFill>
                  <a:srgbClr val="FFFFFF"/>
                </a:solidFill>
              </a:rPr>
              <a:t>ASSORADIO</a:t>
            </a:r>
            <a:endParaRPr lang="it-IT" sz="4400" b="0" dirty="0">
              <a:solidFill>
                <a:srgbClr val="FFFFFF"/>
              </a:solidFill>
            </a:endParaRPr>
          </a:p>
        </p:txBody>
      </p:sp>
      <p:sp>
        <p:nvSpPr>
          <p:cNvPr id="7" name="Sottotitolo 2"/>
          <p:cNvSpPr>
            <a:spLocks noGrp="1"/>
          </p:cNvSpPr>
          <p:nvPr>
            <p:ph type="subTitle" idx="1"/>
          </p:nvPr>
        </p:nvSpPr>
        <p:spPr>
          <a:xfrm>
            <a:off x="1415480" y="5175273"/>
            <a:ext cx="7585612" cy="438427"/>
          </a:xfrm>
        </p:spPr>
        <p:txBody>
          <a:bodyPr/>
          <a:lstStyle/>
          <a:p>
            <a:r>
              <a:rPr lang="it-IT" sz="2000" dirty="0" smtClean="0"/>
              <a:t>Milano, 26 giugno 2018</a:t>
            </a:r>
          </a:p>
        </p:txBody>
      </p:sp>
      <p:pic>
        <p:nvPicPr>
          <p:cNvPr id="8" name="Immagin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99732" y="373634"/>
            <a:ext cx="2533695" cy="13271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67167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 build="p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olo 1"/>
          <p:cNvSpPr>
            <a:spLocks noGrp="1"/>
          </p:cNvSpPr>
          <p:nvPr>
            <p:ph type="ctrTitle"/>
          </p:nvPr>
        </p:nvSpPr>
        <p:spPr>
          <a:xfrm>
            <a:off x="1433788" y="2877954"/>
            <a:ext cx="5274716" cy="1564614"/>
          </a:xfrm>
        </p:spPr>
        <p:txBody>
          <a:bodyPr/>
          <a:lstStyle/>
          <a:p>
            <a:r>
              <a:rPr lang="it-IT" sz="6000" dirty="0" err="1" smtClean="0"/>
              <a:t>Thank</a:t>
            </a:r>
            <a:r>
              <a:rPr lang="it-IT" sz="6000" dirty="0" smtClean="0"/>
              <a:t> </a:t>
            </a:r>
            <a:r>
              <a:rPr lang="it-IT" sz="6000" dirty="0" err="1" smtClean="0"/>
              <a:t>you</a:t>
            </a:r>
            <a:endParaRPr lang="it-IT" sz="6000" dirty="0"/>
          </a:p>
        </p:txBody>
      </p:sp>
      <p:sp>
        <p:nvSpPr>
          <p:cNvPr id="7" name="Sottotitolo 4"/>
          <p:cNvSpPr>
            <a:spLocks noGrp="1"/>
          </p:cNvSpPr>
          <p:nvPr>
            <p:ph type="subTitle" idx="1"/>
          </p:nvPr>
        </p:nvSpPr>
        <p:spPr>
          <a:xfrm>
            <a:off x="1541365" y="4501190"/>
            <a:ext cx="9337921" cy="1232066"/>
          </a:xfrm>
        </p:spPr>
        <p:txBody>
          <a:bodyPr/>
          <a:lstStyle/>
          <a:p>
            <a:pPr algn="l"/>
            <a:r>
              <a:rPr lang="it-IT" sz="2000" dirty="0" smtClean="0"/>
              <a:t>Chiara Castelli</a:t>
            </a:r>
            <a:br>
              <a:rPr lang="it-IT" sz="2000" dirty="0" smtClean="0"/>
            </a:br>
            <a:r>
              <a:rPr lang="it-IT" sz="2000" dirty="0" smtClean="0"/>
              <a:t>Tel. +39 348 1001107</a:t>
            </a:r>
            <a:br>
              <a:rPr lang="it-IT" sz="2000" dirty="0" smtClean="0"/>
            </a:br>
            <a:r>
              <a:rPr lang="it-IT" sz="2000" dirty="0" smtClean="0">
                <a:hlinkClick r:id="rId2"/>
              </a:rPr>
              <a:t>c.castelli@reply.eu</a:t>
            </a:r>
            <a:r>
              <a:rPr lang="it-IT" sz="2000" dirty="0" smtClean="0"/>
              <a:t/>
            </a:r>
            <a:br>
              <a:rPr lang="it-IT" sz="2000" dirty="0" smtClean="0"/>
            </a:br>
            <a:r>
              <a:rPr lang="it-IT" sz="2000" dirty="0" smtClean="0"/>
              <a:t>www.reply.com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6637421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4"/>
          <p:cNvSpPr/>
          <p:nvPr/>
        </p:nvSpPr>
        <p:spPr>
          <a:xfrm rot="5400000">
            <a:off x="4841700" y="-4373256"/>
            <a:ext cx="2520280" cy="1207611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sz="1900" b="0" dirty="0">
              <a:solidFill>
                <a:srgbClr val="1DAC3E"/>
              </a:solidFill>
              <a:latin typeface="Arial Black"/>
              <a:cs typeface="Arial Black"/>
            </a:endParaRPr>
          </a:p>
        </p:txBody>
      </p:sp>
      <p:graphicFrame>
        <p:nvGraphicFramePr>
          <p:cNvPr id="6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46390115"/>
              </p:ext>
            </p:extLst>
          </p:nvPr>
        </p:nvGraphicFramePr>
        <p:xfrm>
          <a:off x="77227" y="620688"/>
          <a:ext cx="12062673" cy="210539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99956"/>
                <a:gridCol w="3779231"/>
                <a:gridCol w="3683486"/>
              </a:tblGrid>
              <a:tr h="149736">
                <a:tc gridSpan="3">
                  <a:txBody>
                    <a:bodyPr/>
                    <a:lstStyle/>
                    <a:p>
                      <a:pPr algn="ctr"/>
                      <a:r>
                        <a:rPr lang="it-IT" sz="1800" b="0" i="0" noProof="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Arial Black" panose="020B0A04020102020204" pitchFamily="34" charset="0"/>
                          <a:cs typeface="Arial"/>
                        </a:rPr>
                        <a:t>EMITTENTI NUOVE nel periodo Gennaio 2017 – Maggio 2018</a:t>
                      </a:r>
                    </a:p>
                    <a:p>
                      <a:pPr algn="ctr"/>
                      <a:endParaRPr lang="it-IT" sz="1800" b="0" i="0" baseline="0" noProof="0" dirty="0" smtClean="0">
                        <a:solidFill>
                          <a:srgbClr val="FFFFFF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 dirty="0"/>
                    </a:p>
                  </a:txBody>
                  <a:tcPr/>
                </a:tc>
              </a:tr>
              <a:tr h="368032">
                <a:tc>
                  <a:txBody>
                    <a:bodyPr/>
                    <a:lstStyle/>
                    <a:p>
                      <a:pPr algn="ctr"/>
                      <a:r>
                        <a:rPr lang="it-IT" sz="1800" b="1" i="0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cs typeface="Arial"/>
                        </a:rPr>
                        <a:t>NOME EMITTENTE</a:t>
                      </a:r>
                      <a:endParaRPr lang="it-IT" sz="1800" b="1" i="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4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1" i="0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cs typeface="Arial"/>
                        </a:rPr>
                        <a:t>CONCESSIONARIA</a:t>
                      </a:r>
                      <a:endParaRPr lang="it-IT" sz="1800" b="1" i="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4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1" i="0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cs typeface="Arial"/>
                        </a:rPr>
                        <a:t>NOTE</a:t>
                      </a:r>
                      <a:endParaRPr lang="it-IT" sz="1800" b="1" i="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400"/>
                    </a:solidFill>
                  </a:tcPr>
                </a:tc>
              </a:tr>
              <a:tr h="311761">
                <a:tc>
                  <a:txBody>
                    <a:bodyPr/>
                    <a:lstStyle/>
                    <a:p>
                      <a:pPr algn="ctr"/>
                      <a:r>
                        <a:rPr lang="it-IT" sz="1800" b="0" i="0" noProof="0" dirty="0" smtClean="0">
                          <a:solidFill>
                            <a:srgbClr val="000000"/>
                          </a:solidFill>
                          <a:latin typeface="+mj-lt"/>
                          <a:cs typeface="Arial"/>
                        </a:rPr>
                        <a:t>RMC</a:t>
                      </a:r>
                      <a:r>
                        <a:rPr lang="it-IT" sz="1800" b="0" i="0" baseline="0" noProof="0" dirty="0" smtClean="0">
                          <a:solidFill>
                            <a:srgbClr val="000000"/>
                          </a:solidFill>
                          <a:latin typeface="+mj-lt"/>
                          <a:cs typeface="Arial"/>
                        </a:rPr>
                        <a:t> Sport</a:t>
                      </a:r>
                      <a:endParaRPr lang="it-IT" sz="1800" b="0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0" i="0" noProof="0" dirty="0" smtClean="0">
                          <a:solidFill>
                            <a:srgbClr val="000000"/>
                          </a:solidFill>
                          <a:latin typeface="+mj-lt"/>
                          <a:cs typeface="Arial"/>
                        </a:rPr>
                        <a:t>MEDIAMOND</a:t>
                      </a:r>
                      <a:endParaRPr lang="it-IT" sz="1800" b="0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0" i="0" noProof="0" dirty="0" smtClean="0">
                          <a:solidFill>
                            <a:srgbClr val="000000"/>
                          </a:solidFill>
                          <a:latin typeface="+mj-lt"/>
                          <a:cs typeface="Arial"/>
                        </a:rPr>
                        <a:t>-</a:t>
                      </a:r>
                      <a:endParaRPr lang="it-IT" sz="1800" b="0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11761"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11761"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3" name="Rechteck 4"/>
          <p:cNvSpPr/>
          <p:nvPr/>
        </p:nvSpPr>
        <p:spPr>
          <a:xfrm rot="5400000">
            <a:off x="4841700" y="-1204904"/>
            <a:ext cx="2520280" cy="1207611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sz="1900" b="0" dirty="0">
              <a:solidFill>
                <a:srgbClr val="1DAC3E"/>
              </a:solidFill>
              <a:latin typeface="Arial Black"/>
              <a:cs typeface="Arial Black"/>
            </a:endParaRPr>
          </a:p>
        </p:txBody>
      </p:sp>
      <p:graphicFrame>
        <p:nvGraphicFramePr>
          <p:cNvPr id="12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07209901"/>
              </p:ext>
            </p:extLst>
          </p:nvPr>
        </p:nvGraphicFramePr>
        <p:xfrm>
          <a:off x="80682" y="3861048"/>
          <a:ext cx="12063600" cy="214716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53806"/>
                <a:gridCol w="4113098"/>
                <a:gridCol w="3496696"/>
              </a:tblGrid>
              <a:tr h="660633">
                <a:tc gridSpan="3">
                  <a:txBody>
                    <a:bodyPr/>
                    <a:lstStyle/>
                    <a:p>
                      <a:pPr algn="ctr"/>
                      <a:r>
                        <a:rPr lang="it-IT" sz="1800" b="0" i="0" noProof="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Arial Black" panose="020B0A04020102020204" pitchFamily="34" charset="0"/>
                          <a:cs typeface="Arial"/>
                        </a:rPr>
                        <a:t>EMITTENTI CHIUSE nel periodo Gennaio 2017 – Maggio 2018</a:t>
                      </a:r>
                    </a:p>
                    <a:p>
                      <a:pPr algn="ctr"/>
                      <a:endParaRPr lang="it-IT" sz="1800" b="0" i="0" baseline="0" noProof="0" dirty="0" smtClean="0">
                        <a:solidFill>
                          <a:srgbClr val="FFFFFF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 dirty="0"/>
                    </a:p>
                  </a:txBody>
                  <a:tcPr/>
                </a:tc>
              </a:tr>
              <a:tr h="314587">
                <a:tc>
                  <a:txBody>
                    <a:bodyPr/>
                    <a:lstStyle/>
                    <a:p>
                      <a:pPr algn="ctr"/>
                      <a:r>
                        <a:rPr lang="it-IT" sz="1800" b="1" i="0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cs typeface="Arial"/>
                        </a:rPr>
                        <a:t>NOME EMITTENTE</a:t>
                      </a:r>
                      <a:endParaRPr lang="it-IT" sz="1800" b="1" i="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4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1" i="0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cs typeface="Arial"/>
                        </a:rPr>
                        <a:t>CONCESSIONARIA</a:t>
                      </a:r>
                      <a:endParaRPr lang="it-IT" sz="1800" b="1" i="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4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1" i="0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cs typeface="Arial"/>
                        </a:rPr>
                        <a:t>NOTE</a:t>
                      </a:r>
                      <a:endParaRPr lang="it-IT" sz="1800" b="1" i="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400"/>
                    </a:solidFill>
                  </a:tcPr>
                </a:tc>
              </a:tr>
              <a:tr h="321771">
                <a:tc>
                  <a:txBody>
                    <a:bodyPr/>
                    <a:lstStyle/>
                    <a:p>
                      <a:pPr algn="ctr"/>
                      <a:r>
                        <a:rPr lang="it-IT" sz="1800" b="0" i="0" noProof="0" dirty="0" smtClean="0">
                          <a:solidFill>
                            <a:srgbClr val="000000"/>
                          </a:solidFill>
                          <a:latin typeface="+mj-lt"/>
                          <a:cs typeface="Arial"/>
                        </a:rPr>
                        <a:t>-</a:t>
                      </a:r>
                      <a:endParaRPr lang="it-IT" sz="1800" b="0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0" i="0" noProof="0" dirty="0" smtClean="0">
                          <a:solidFill>
                            <a:srgbClr val="000000"/>
                          </a:solidFill>
                          <a:latin typeface="+mj-lt"/>
                          <a:cs typeface="Arial"/>
                        </a:rPr>
                        <a:t>-</a:t>
                      </a:r>
                      <a:endParaRPr lang="it-IT" sz="1800" b="0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0" i="0" noProof="0" dirty="0" smtClean="0">
                          <a:solidFill>
                            <a:srgbClr val="000000"/>
                          </a:solidFill>
                          <a:latin typeface="+mj-lt"/>
                          <a:cs typeface="Arial"/>
                        </a:rPr>
                        <a:t>-</a:t>
                      </a:r>
                      <a:endParaRPr lang="it-IT" sz="1800" b="0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77505"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77505"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19903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418" name="Text Box 66"/>
          <p:cNvSpPr txBox="1">
            <a:spLocks noChangeArrowheads="1"/>
          </p:cNvSpPr>
          <p:nvPr/>
        </p:nvSpPr>
        <p:spPr bwMode="auto">
          <a:xfrm>
            <a:off x="1524000" y="68688"/>
            <a:ext cx="9144000" cy="784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Char char="–"/>
              <a:defRPr sz="28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None/>
            </a:pP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Totale Fatturato e </a:t>
            </a:r>
            <a:r>
              <a:rPr lang="it-IT" altLang="it-IT" sz="1800" dirty="0" smtClean="0">
                <a:latin typeface="Arial Black" panose="020B0A04020102020204" pitchFamily="34" charset="0"/>
                <a:cs typeface="Arial" panose="020B0604020202020204" pitchFamily="34" charset="0"/>
              </a:rPr>
              <a:t>Fatturato Extra Tabellare</a:t>
            </a:r>
            <a:endParaRPr lang="it-IT" altLang="it-IT" sz="1800" dirty="0">
              <a:solidFill>
                <a:srgbClr val="A19DFB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  <a:p>
            <a:pPr algn="ctr" eaLnBrk="1" hangingPunct="1">
              <a:spcBef>
                <a:spcPct val="50000"/>
              </a:spcBef>
              <a:buClrTx/>
              <a:buFontTx/>
              <a:buNone/>
            </a:pPr>
            <a:r>
              <a:rPr lang="it-IT" altLang="it-IT" sz="1800" b="0" dirty="0" smtClean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it-IT" altLang="it-IT" sz="1800" b="0" dirty="0">
                <a:latin typeface="Arial" panose="020B0604020202020204" pitchFamily="34" charset="0"/>
                <a:cs typeface="Arial" panose="020B0604020202020204" pitchFamily="34" charset="0"/>
              </a:rPr>
              <a:t>in migliaia di euro</a:t>
            </a:r>
            <a:r>
              <a:rPr lang="it-IT" altLang="it-IT" sz="1800" b="0" dirty="0" smtClean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it-IT" altLang="it-IT" sz="1800" dirty="0">
              <a:solidFill>
                <a:srgbClr val="A19DFB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Group 17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97939651"/>
              </p:ext>
            </p:extLst>
          </p:nvPr>
        </p:nvGraphicFramePr>
        <p:xfrm>
          <a:off x="74222" y="1027297"/>
          <a:ext cx="11953328" cy="4939948"/>
        </p:xfrm>
        <a:graphic>
          <a:graphicData uri="http://schemas.openxmlformats.org/drawingml/2006/table">
            <a:tbl>
              <a:tblPr/>
              <a:tblGrid>
                <a:gridCol w="911426"/>
                <a:gridCol w="1013322"/>
                <a:gridCol w="770051"/>
                <a:gridCol w="770051"/>
                <a:gridCol w="770051"/>
                <a:gridCol w="770051"/>
                <a:gridCol w="770051"/>
                <a:gridCol w="770051"/>
                <a:gridCol w="770051"/>
                <a:gridCol w="770051"/>
                <a:gridCol w="770051"/>
                <a:gridCol w="770051"/>
                <a:gridCol w="770051"/>
                <a:gridCol w="693923"/>
                <a:gridCol w="864096"/>
              </a:tblGrid>
              <a:tr h="5514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no/</a:t>
                      </a:r>
                      <a:b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se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g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u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g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o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tt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v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c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1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</a:t>
                      </a:r>
                      <a:r>
                        <a:rPr lang="it-IT" sz="1300" b="1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br>
                        <a:rPr lang="it-IT" sz="1300" b="1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it-IT" sz="1300" b="1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g</a:t>
                      </a:r>
                      <a:r>
                        <a:rPr lang="it-IT" sz="1300" b="1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2018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431423">
                <a:tc rowSpan="6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e</a:t>
                      </a:r>
                      <a:b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tturato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22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75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63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61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.78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60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42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.08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57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32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.04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76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3.02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97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83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74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47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.45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32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86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.02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57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.04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.05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95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8.48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28612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.01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07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71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52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.56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7.88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/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3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5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0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/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28612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/20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2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sng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343353">
                <a:tc rowSpan="6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tturato extra-tabellare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08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93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42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52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31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77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39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89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67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23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62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55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28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  <a:endParaRPr kumimoji="0" lang="it-IT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17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56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01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02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32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85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61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91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56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59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27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50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11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28612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38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56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28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17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71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12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/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8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7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9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29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0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/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5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4,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8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28612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/20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8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sng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6611534"/>
      </p:ext>
    </p:extLst>
  </p:cSld>
  <p:clrMapOvr>
    <a:masterClrMapping/>
  </p:clrMapOvr>
  <p:transition spd="med">
    <p:strips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0418" grpId="0" autoUpdateAnimBg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Box 66"/>
          <p:cNvSpPr txBox="1">
            <a:spLocks noChangeArrowheads="1"/>
          </p:cNvSpPr>
          <p:nvPr/>
        </p:nvSpPr>
        <p:spPr bwMode="auto">
          <a:xfrm>
            <a:off x="1524000" y="116632"/>
            <a:ext cx="91440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Char char="–"/>
              <a:defRPr sz="28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FontTx/>
              <a:buNone/>
            </a:pPr>
            <a:r>
              <a:rPr lang="it-IT" altLang="it-IT" sz="1800" dirty="0" smtClean="0">
                <a:latin typeface="Arial Black" panose="020B0A04020102020204" pitchFamily="34" charset="0"/>
                <a:cs typeface="Arial" panose="020B0604020202020204" pitchFamily="34" charset="0"/>
              </a:rPr>
              <a:t>Fatturato Tabellare </a:t>
            </a:r>
            <a:r>
              <a:rPr lang="it-IT" altLang="it-IT" sz="1800" b="0" dirty="0" smtClean="0">
                <a:latin typeface="Arial" panose="020B0604020202020204" pitchFamily="34" charset="0"/>
                <a:cs typeface="Arial" panose="020B0604020202020204" pitchFamily="34" charset="0"/>
              </a:rPr>
              <a:t>(in </a:t>
            </a:r>
            <a:r>
              <a:rPr lang="it-IT" altLang="it-IT" sz="1800" b="0" dirty="0">
                <a:latin typeface="Arial" panose="020B0604020202020204" pitchFamily="34" charset="0"/>
                <a:cs typeface="Arial" panose="020B0604020202020204" pitchFamily="34" charset="0"/>
              </a:rPr>
              <a:t>migliaia di euro</a:t>
            </a:r>
            <a:r>
              <a:rPr lang="it-IT" altLang="it-IT" sz="1800" b="0" dirty="0" smtClean="0"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e </a:t>
            </a:r>
            <a:r>
              <a:rPr lang="it-IT" altLang="it-IT" sz="1800" dirty="0" smtClean="0">
                <a:latin typeface="Arial Black" panose="020B0A04020102020204" pitchFamily="34" charset="0"/>
                <a:cs typeface="Arial" panose="020B0604020202020204" pitchFamily="34" charset="0"/>
              </a:rPr>
              <a:t>Totale Avvisi</a:t>
            </a:r>
            <a:endParaRPr lang="it-IT" altLang="it-IT" sz="1800" dirty="0"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9" name="Group 17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3286187"/>
              </p:ext>
            </p:extLst>
          </p:nvPr>
        </p:nvGraphicFramePr>
        <p:xfrm>
          <a:off x="74222" y="1027297"/>
          <a:ext cx="11953328" cy="4865230"/>
        </p:xfrm>
        <a:graphic>
          <a:graphicData uri="http://schemas.openxmlformats.org/drawingml/2006/table">
            <a:tbl>
              <a:tblPr/>
              <a:tblGrid>
                <a:gridCol w="911426"/>
                <a:gridCol w="1013322"/>
                <a:gridCol w="770051"/>
                <a:gridCol w="770051"/>
                <a:gridCol w="770051"/>
                <a:gridCol w="770051"/>
                <a:gridCol w="770051"/>
                <a:gridCol w="770051"/>
                <a:gridCol w="770051"/>
                <a:gridCol w="770051"/>
                <a:gridCol w="770051"/>
                <a:gridCol w="770051"/>
                <a:gridCol w="770051"/>
                <a:gridCol w="693923"/>
                <a:gridCol w="864096"/>
              </a:tblGrid>
              <a:tr h="5514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no/</a:t>
                      </a:r>
                      <a:b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se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g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u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g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o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tt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v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c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1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</a:t>
                      </a:r>
                      <a:r>
                        <a:rPr lang="it-IT" sz="1300" b="1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br>
                        <a:rPr lang="it-IT" sz="1300" b="1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it-IT" sz="1300" b="1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g</a:t>
                      </a:r>
                      <a:r>
                        <a:rPr lang="it-IT" sz="1300" b="1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2018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295705">
                <a:tc rowSpan="6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tturato Tabellare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.14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82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21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09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46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82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03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18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90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09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.42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21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1.73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.79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27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73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45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12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47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24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10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00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44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77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45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8.37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28612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63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50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43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34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84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6.76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/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2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6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0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/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,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28612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/20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0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sng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sng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343353">
                <a:tc rowSpan="6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e</a:t>
                      </a:r>
                      <a:b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vvisi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.56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9.85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1.96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2.48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4.38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6.43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0.56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.43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2.70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7.26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5.51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4.53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8.23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  <a:endParaRPr kumimoji="0" lang="it-IT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.00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8.38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9.81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3.26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0.75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5.92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5.74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.54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9.71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4.42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4.26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8.63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1.22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28612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1.51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2.79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0.46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2.50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6.72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3.99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/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3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/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28612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/20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2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sng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90687129"/>
      </p:ext>
    </p:extLst>
  </p:cSld>
  <p:clrMapOvr>
    <a:masterClrMapping/>
  </p:clrMapOvr>
  <p:transition spd="med">
    <p:strips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utoUpdateAnimBg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418" name="Text Box 66"/>
          <p:cNvSpPr txBox="1">
            <a:spLocks noChangeArrowheads="1"/>
          </p:cNvSpPr>
          <p:nvPr/>
        </p:nvSpPr>
        <p:spPr bwMode="auto">
          <a:xfrm>
            <a:off x="1524000" y="182882"/>
            <a:ext cx="91440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Char char="–"/>
              <a:defRPr sz="28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FontTx/>
              <a:buNone/>
            </a:pP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Numero di </a:t>
            </a:r>
            <a:r>
              <a:rPr lang="it-IT" altLang="it-IT" sz="1800" dirty="0" smtClean="0">
                <a:latin typeface="Arial Black" panose="020B0A04020102020204" pitchFamily="34" charset="0"/>
                <a:cs typeface="Arial" panose="020B0604020202020204" pitchFamily="34" charset="0"/>
              </a:rPr>
              <a:t>Avvisi</a:t>
            </a:r>
            <a:endParaRPr lang="it-IT" altLang="it-IT" sz="1800" dirty="0">
              <a:solidFill>
                <a:srgbClr val="A19DFB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Group 17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9621002"/>
              </p:ext>
            </p:extLst>
          </p:nvPr>
        </p:nvGraphicFramePr>
        <p:xfrm>
          <a:off x="150277" y="836712"/>
          <a:ext cx="11891446" cy="5228843"/>
        </p:xfrm>
        <a:graphic>
          <a:graphicData uri="http://schemas.openxmlformats.org/drawingml/2006/table">
            <a:tbl>
              <a:tblPr/>
              <a:tblGrid>
                <a:gridCol w="350215"/>
                <a:gridCol w="863428"/>
                <a:gridCol w="217062"/>
                <a:gridCol w="891552"/>
                <a:gridCol w="875384"/>
                <a:gridCol w="217062"/>
                <a:gridCol w="851770"/>
                <a:gridCol w="816991"/>
                <a:gridCol w="839193"/>
                <a:gridCol w="810963"/>
                <a:gridCol w="845221"/>
                <a:gridCol w="828674"/>
                <a:gridCol w="891643"/>
                <a:gridCol w="864096"/>
                <a:gridCol w="864096"/>
                <a:gridCol w="864096"/>
              </a:tblGrid>
              <a:tr h="28803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e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4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 15’’ Avvisi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400" b="0" i="0" u="none" strike="noStrike" kern="1200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’’ Avvisi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400" b="0" i="0" u="none" strike="noStrike" kern="1200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’’ Avvisi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400" b="0" i="0" u="none" strike="noStrike" kern="1200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’’ e 30’’ Avvisi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4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</a:t>
                      </a:r>
                      <a:r>
                        <a:rPr lang="it-IT" sz="1300" b="0" i="0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’’ Avvisi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4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</a:tr>
              <a:tr h="522335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si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rowSpan="16"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300" b="0" i="1" u="none" strike="noStrike" kern="1200" dirty="0" smtClean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°</a:t>
                      </a:r>
                      <a:r>
                        <a:rPr lang="it-IT" sz="1300" b="0" i="0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vvisi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% sul 2017</a:t>
                      </a: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°</a:t>
                      </a:r>
                      <a:r>
                        <a:rPr lang="it-IT" sz="1300" b="0" i="0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vvisi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% sul 2017</a:t>
                      </a: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°</a:t>
                      </a:r>
                      <a:r>
                        <a:rPr lang="it-IT" sz="1300" b="0" i="0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vvisi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% sul 2017</a:t>
                      </a: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°</a:t>
                      </a:r>
                      <a:r>
                        <a:rPr lang="it-IT" sz="1300" b="0" i="0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vvisi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% sul 2017</a:t>
                      </a: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°</a:t>
                      </a:r>
                      <a:r>
                        <a:rPr lang="it-IT" sz="1300" b="0" i="0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vvisi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% sul 2017</a:t>
                      </a: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°</a:t>
                      </a:r>
                      <a:r>
                        <a:rPr lang="it-IT" sz="1300" b="0" i="0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vvisi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% sul 2017</a:t>
                      </a: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</a:tr>
              <a:tr h="12988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 sz="300" dirty="0"/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31305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-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1.51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2,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23,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90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2,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.72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5,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.73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,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46,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0865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-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2.79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3,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.94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337,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33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9,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.27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7,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.46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0,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18,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868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-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0.46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7,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96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28,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.03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2,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72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8,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0.18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8,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54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19,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1305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-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2.50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31,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07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8,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.65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36,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02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32,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.85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34,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0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61,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0865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g-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6.72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2,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81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42,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.29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1,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54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8,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.81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8,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25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37,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28868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u-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31305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g-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</a:tr>
              <a:tr h="300865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o-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</a:tr>
              <a:tr h="28868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-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868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it-IT" sz="13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Ott-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8868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it-IT" sz="13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Nov-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868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it-IT" sz="13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Dic-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it-IT" sz="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868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13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</a:t>
                      </a: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</a:t>
                      </a:r>
                      <a:r>
                        <a:rPr kumimoji="0" lang="it-IT" sz="13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g</a:t>
                      </a: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20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b"/>
                      <a:endParaRPr lang="it-IT" sz="100" b="1" i="1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3.99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8,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.42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31,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9.21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0,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0.30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1,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9.05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6,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.98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39,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ransition spd="med">
    <p:strips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0418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Box 66"/>
          <p:cNvSpPr txBox="1">
            <a:spLocks noChangeArrowheads="1"/>
          </p:cNvSpPr>
          <p:nvPr/>
        </p:nvSpPr>
        <p:spPr bwMode="auto">
          <a:xfrm>
            <a:off x="1415480" y="185130"/>
            <a:ext cx="9473710" cy="369332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Char char="–"/>
              <a:defRPr sz="28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eaLnBrk="1" hangingPunct="1">
              <a:spcBef>
                <a:spcPts val="600"/>
              </a:spcBef>
              <a:buClrTx/>
              <a:buFontTx/>
              <a:buNone/>
            </a:pP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Peso % delle diverse tipologie di avvisi, sulla base della durata </a:t>
            </a:r>
            <a:r>
              <a:rPr lang="it-IT" altLang="it-IT" sz="1800" b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in secondi)</a:t>
            </a:r>
            <a:endParaRPr lang="it-IT" altLang="it-IT" sz="1800" b="0" dirty="0">
              <a:solidFill>
                <a:srgbClr val="A19DF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" name="Gruppo 1"/>
          <p:cNvGrpSpPr/>
          <p:nvPr/>
        </p:nvGrpSpPr>
        <p:grpSpPr>
          <a:xfrm>
            <a:off x="-231023" y="1052628"/>
            <a:ext cx="12675201" cy="5328700"/>
            <a:chOff x="-231023" y="1052628"/>
            <a:chExt cx="12675201" cy="5328700"/>
          </a:xfrm>
        </p:grpSpPr>
        <p:sp>
          <p:nvSpPr>
            <p:cNvPr id="11" name="CasellaDiTesto 10"/>
            <p:cNvSpPr txBox="1"/>
            <p:nvPr/>
          </p:nvSpPr>
          <p:spPr>
            <a:xfrm>
              <a:off x="8915786" y="1052736"/>
              <a:ext cx="3528392" cy="6001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</a:pPr>
              <a:r>
                <a:rPr lang="it-IT" sz="1400" dirty="0" err="1" smtClean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g</a:t>
              </a:r>
              <a:r>
                <a:rPr lang="it-IT" sz="1400" dirty="0" smtClean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. 2018</a:t>
              </a:r>
            </a:p>
            <a:p>
              <a:pPr algn="ctr" fontAlgn="ctr">
                <a:spcBef>
                  <a:spcPts val="0"/>
                </a:spcBef>
                <a:spcAft>
                  <a:spcPts val="0"/>
                </a:spcAft>
              </a:pPr>
              <a:endParaRPr lang="it-IT" sz="500" b="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endParaRPr>
            </a:p>
            <a:p>
              <a:pPr algn="ctr" fontAlgn="ctr">
                <a:spcBef>
                  <a:spcPts val="0"/>
                </a:spcBef>
                <a:spcAft>
                  <a:spcPts val="0"/>
                </a:spcAft>
              </a:pPr>
              <a:r>
                <a:rPr lang="it-IT" sz="1400" dirty="0" smtClean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7.108.923</a:t>
              </a:r>
              <a:endParaRPr lang="it-IT" sz="1400" b="0" i="0" u="none" strike="noStrike" dirty="0">
                <a:solidFill>
                  <a:schemeClr val="bg1">
                    <a:lumMod val="50000"/>
                  </a:schemeClr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8" name="CasellaDiTesto 7"/>
            <p:cNvSpPr txBox="1"/>
            <p:nvPr/>
          </p:nvSpPr>
          <p:spPr>
            <a:xfrm>
              <a:off x="-231023" y="1052736"/>
              <a:ext cx="3528392" cy="6001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ctr"/>
              <a:r>
                <a:rPr lang="it-IT" sz="1400" dirty="0" smtClean="0">
                  <a:solidFill>
                    <a:schemeClr val="bg1">
                      <a:lumMod val="50000"/>
                    </a:schemeClr>
                  </a:solidFill>
                </a:rPr>
                <a:t>Gennaio 2018</a:t>
              </a:r>
            </a:p>
            <a:p>
              <a:pPr algn="ctr" fontAlgn="ctr"/>
              <a:endParaRPr lang="it-IT" sz="5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ctr" fontAlgn="ctr"/>
              <a:r>
                <a:rPr lang="it-IT" sz="1400" dirty="0" smtClean="0">
                  <a:solidFill>
                    <a:schemeClr val="bg1">
                      <a:lumMod val="50000"/>
                    </a:schemeClr>
                  </a:solidFill>
                </a:rPr>
                <a:t>2.556.336</a:t>
              </a:r>
              <a:endParaRPr lang="it-IT" sz="1400" b="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9" name="CasellaDiTesto 8"/>
            <p:cNvSpPr txBox="1"/>
            <p:nvPr/>
          </p:nvSpPr>
          <p:spPr>
            <a:xfrm>
              <a:off x="7593270" y="1052736"/>
              <a:ext cx="3528392" cy="6001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ctr"/>
              <a:r>
                <a:rPr lang="it-IT" sz="1400" dirty="0" err="1" smtClean="0">
                  <a:solidFill>
                    <a:schemeClr val="bg1">
                      <a:lumMod val="50000"/>
                    </a:schemeClr>
                  </a:solidFill>
                </a:rPr>
                <a:t>Prog</a:t>
              </a:r>
              <a:r>
                <a:rPr lang="it-IT" sz="1400" dirty="0" smtClean="0">
                  <a:solidFill>
                    <a:schemeClr val="bg1">
                      <a:lumMod val="50000"/>
                    </a:schemeClr>
                  </a:solidFill>
                </a:rPr>
                <a:t>. 2017</a:t>
              </a:r>
            </a:p>
            <a:p>
              <a:pPr algn="ctr" fontAlgn="ctr"/>
              <a:endParaRPr lang="it-IT" sz="5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ctr" fontAlgn="ctr"/>
              <a:r>
                <a:rPr lang="it-IT" sz="1400" dirty="0" smtClean="0">
                  <a:solidFill>
                    <a:schemeClr val="bg1">
                      <a:lumMod val="50000"/>
                    </a:schemeClr>
                  </a:solidFill>
                </a:rPr>
                <a:t>16.026.147</a:t>
              </a:r>
              <a:endParaRPr lang="it-IT" sz="1400" b="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10" name="CasellaDiTesto 9"/>
            <p:cNvSpPr txBox="1"/>
            <p:nvPr/>
          </p:nvSpPr>
          <p:spPr>
            <a:xfrm>
              <a:off x="1113693" y="1052736"/>
              <a:ext cx="3528392" cy="6001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</a:pPr>
              <a:r>
                <a:rPr lang="it-IT" sz="1400" dirty="0" smtClean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ebbraio 2018</a:t>
              </a:r>
            </a:p>
            <a:p>
              <a:pPr algn="ctr" fontAlgn="ctr">
                <a:spcBef>
                  <a:spcPts val="0"/>
                </a:spcBef>
                <a:spcAft>
                  <a:spcPts val="0"/>
                </a:spcAft>
              </a:pPr>
              <a:endParaRPr lang="it-IT" sz="500" b="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endParaRPr>
            </a:p>
            <a:p>
              <a:pPr algn="ctr" fontAlgn="ctr">
                <a:spcBef>
                  <a:spcPts val="0"/>
                </a:spcBef>
                <a:spcAft>
                  <a:spcPts val="0"/>
                </a:spcAft>
              </a:pPr>
              <a:r>
                <a:rPr lang="it-IT" sz="1400" dirty="0" smtClean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.010.823</a:t>
              </a:r>
              <a:endParaRPr lang="it-IT" sz="1400" b="0" i="0" u="none" strike="noStrike" dirty="0">
                <a:solidFill>
                  <a:schemeClr val="bg1">
                    <a:lumMod val="50000"/>
                  </a:schemeClr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2" name="CasellaDiTesto 11"/>
            <p:cNvSpPr txBox="1"/>
            <p:nvPr/>
          </p:nvSpPr>
          <p:spPr>
            <a:xfrm>
              <a:off x="2414793" y="1052700"/>
              <a:ext cx="3528392" cy="6001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</a:pPr>
              <a:r>
                <a:rPr lang="it-IT" sz="1400" dirty="0" smtClean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rzo 2018</a:t>
              </a:r>
            </a:p>
            <a:p>
              <a:pPr algn="ctr" fontAlgn="ctr">
                <a:spcBef>
                  <a:spcPts val="0"/>
                </a:spcBef>
                <a:spcAft>
                  <a:spcPts val="0"/>
                </a:spcAft>
              </a:pPr>
              <a:endParaRPr lang="it-IT" sz="500" b="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endParaRPr>
            </a:p>
            <a:p>
              <a:pPr algn="ctr" fontAlgn="ctr">
                <a:spcBef>
                  <a:spcPts val="0"/>
                </a:spcBef>
                <a:spcAft>
                  <a:spcPts val="0"/>
                </a:spcAft>
              </a:pPr>
              <a:r>
                <a:rPr lang="it-IT" sz="1400" dirty="0" smtClean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.748.352</a:t>
              </a:r>
              <a:endParaRPr lang="it-IT" sz="1400" b="0" i="0" u="none" strike="noStrike" dirty="0">
                <a:solidFill>
                  <a:schemeClr val="bg1">
                    <a:lumMod val="50000"/>
                  </a:schemeClr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4" name="CasellaDiTesto 13"/>
            <p:cNvSpPr txBox="1"/>
            <p:nvPr/>
          </p:nvSpPr>
          <p:spPr>
            <a:xfrm>
              <a:off x="3703343" y="1052628"/>
              <a:ext cx="3528392" cy="6001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</a:pPr>
              <a:r>
                <a:rPr lang="it-IT" sz="1400" dirty="0" smtClean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prile 2018</a:t>
              </a:r>
            </a:p>
            <a:p>
              <a:pPr algn="ctr" fontAlgn="ctr">
                <a:spcBef>
                  <a:spcPts val="0"/>
                </a:spcBef>
                <a:spcAft>
                  <a:spcPts val="0"/>
                </a:spcAft>
              </a:pPr>
              <a:endParaRPr lang="it-IT" sz="500" b="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endParaRPr>
            </a:p>
            <a:p>
              <a:pPr algn="ctr" fontAlgn="ctr">
                <a:spcBef>
                  <a:spcPts val="0"/>
                </a:spcBef>
                <a:spcAft>
                  <a:spcPts val="0"/>
                </a:spcAft>
              </a:pPr>
              <a:r>
                <a:rPr lang="it-IT" sz="1400" dirty="0" smtClean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.917.345</a:t>
              </a:r>
              <a:endParaRPr lang="it-IT" sz="1400" b="0" i="0" u="none" strike="noStrike" dirty="0">
                <a:solidFill>
                  <a:schemeClr val="bg1">
                    <a:lumMod val="50000"/>
                  </a:schemeClr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" name="CasellaDiTesto 12"/>
            <p:cNvSpPr txBox="1"/>
            <p:nvPr/>
          </p:nvSpPr>
          <p:spPr>
            <a:xfrm>
              <a:off x="5051779" y="1055530"/>
              <a:ext cx="3528392" cy="6001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</a:pPr>
              <a:r>
                <a:rPr lang="it-IT" sz="1400" dirty="0" smtClean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ggio 2018</a:t>
              </a:r>
            </a:p>
            <a:p>
              <a:pPr algn="ctr" fontAlgn="ctr">
                <a:spcBef>
                  <a:spcPts val="0"/>
                </a:spcBef>
                <a:spcAft>
                  <a:spcPts val="0"/>
                </a:spcAft>
              </a:pPr>
              <a:endParaRPr lang="it-IT" sz="500" b="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endParaRPr>
            </a:p>
            <a:p>
              <a:pPr algn="ctr" fontAlgn="ctr">
                <a:spcBef>
                  <a:spcPts val="0"/>
                </a:spcBef>
                <a:spcAft>
                  <a:spcPts val="0"/>
                </a:spcAft>
              </a:pPr>
              <a:r>
                <a:rPr lang="it-IT" sz="1400" dirty="0" smtClean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.876.067</a:t>
              </a:r>
              <a:endParaRPr lang="it-IT" sz="1400" b="0" i="0" u="none" strike="noStrike" dirty="0">
                <a:solidFill>
                  <a:schemeClr val="bg1">
                    <a:lumMod val="50000"/>
                  </a:schemeClr>
                </a:solidFill>
                <a:effectLst/>
                <a:latin typeface="Arial" panose="020B0604020202020204" pitchFamily="34" charset="0"/>
              </a:endParaRPr>
            </a:p>
          </p:txBody>
        </p:sp>
        <p:graphicFrame>
          <p:nvGraphicFramePr>
            <p:cNvPr id="17" name="Grafico 16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173983251"/>
                </p:ext>
              </p:extLst>
            </p:nvPr>
          </p:nvGraphicFramePr>
          <p:xfrm>
            <a:off x="741605" y="1652792"/>
            <a:ext cx="10708791" cy="472853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3357969306"/>
      </p:ext>
    </p:extLst>
  </p:cSld>
  <p:clrMapOvr>
    <a:masterClrMapping/>
  </p:clrMapOvr>
  <p:transition spd="med">
    <p:strips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Box 66"/>
          <p:cNvSpPr txBox="1">
            <a:spLocks noChangeArrowheads="1"/>
          </p:cNvSpPr>
          <p:nvPr/>
        </p:nvSpPr>
        <p:spPr bwMode="auto">
          <a:xfrm>
            <a:off x="1415480" y="185130"/>
            <a:ext cx="9473710" cy="646331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Char char="–"/>
              <a:defRPr sz="28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eaLnBrk="1" hangingPunct="1">
              <a:spcBef>
                <a:spcPts val="600"/>
              </a:spcBef>
              <a:buClrTx/>
              <a:buFontTx/>
              <a:buNone/>
            </a:pPr>
            <a:r>
              <a:rPr lang="it-IT" altLang="it-IT" sz="1800" dirty="0" smtClean="0">
                <a:latin typeface="Arial Black" panose="020B0A04020102020204" pitchFamily="34" charset="0"/>
                <a:cs typeface="Arial" panose="020B0604020202020204" pitchFamily="34" charset="0"/>
              </a:rPr>
              <a:t>Trend storico del peso </a:t>
            </a: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% delle diverse tipologie di avvisi, sulla base della durata </a:t>
            </a:r>
            <a:r>
              <a:rPr lang="it-IT" altLang="it-IT" sz="1800" dirty="0" smtClean="0">
                <a:latin typeface="Arial Black" panose="020B0A04020102020204" pitchFamily="34" charset="0"/>
                <a:cs typeface="Arial" panose="020B0604020202020204" pitchFamily="34" charset="0"/>
              </a:rPr>
              <a:t>a Maggio di ciascun anno </a:t>
            </a:r>
            <a:r>
              <a:rPr lang="it-IT" altLang="it-IT" sz="1800" b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in </a:t>
            </a:r>
            <a:r>
              <a:rPr lang="it-IT" altLang="it-IT" sz="1800" b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condi)</a:t>
            </a:r>
            <a:endParaRPr lang="it-IT" altLang="it-IT" sz="1800" b="0" dirty="0">
              <a:solidFill>
                <a:srgbClr val="A19DF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Grafico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40570595"/>
              </p:ext>
            </p:extLst>
          </p:nvPr>
        </p:nvGraphicFramePr>
        <p:xfrm>
          <a:off x="865997" y="1124744"/>
          <a:ext cx="10460007" cy="53994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763959666"/>
      </p:ext>
    </p:extLst>
  </p:cSld>
  <p:clrMapOvr>
    <a:masterClrMapping/>
  </p:clrMapOvr>
  <p:transition spd="med">
    <p:strips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Graphic spid="4" grpId="0">
        <p:bldAsOne/>
      </p:bldGraphic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418" name="Text Box 66"/>
          <p:cNvSpPr txBox="1">
            <a:spLocks noChangeArrowheads="1"/>
          </p:cNvSpPr>
          <p:nvPr/>
        </p:nvSpPr>
        <p:spPr bwMode="auto">
          <a:xfrm>
            <a:off x="1525366" y="-2228"/>
            <a:ext cx="9144000" cy="784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Char char="–"/>
              <a:defRPr sz="28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None/>
            </a:pP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Fatturato Totale </a:t>
            </a:r>
            <a:r>
              <a:rPr lang="it-IT" altLang="it-IT" sz="1800" b="0" dirty="0">
                <a:latin typeface="Arial" panose="020B0604020202020204" pitchFamily="34" charset="0"/>
                <a:cs typeface="Arial" panose="020B0604020202020204" pitchFamily="34" charset="0"/>
              </a:rPr>
              <a:t>(in migliaia di euro)</a:t>
            </a:r>
            <a:endParaRPr lang="it-IT" altLang="it-IT" sz="1800" b="0" dirty="0">
              <a:solidFill>
                <a:srgbClr val="A19DF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eaLnBrk="1" hangingPunct="1">
              <a:spcBef>
                <a:spcPct val="50000"/>
              </a:spcBef>
              <a:buClrTx/>
              <a:buFontTx/>
              <a:buNone/>
            </a:pPr>
            <a:r>
              <a:rPr lang="it-IT" altLang="it-IT" sz="1800" dirty="0" smtClean="0">
                <a:latin typeface="Arial Black" panose="020B0A04020102020204" pitchFamily="34" charset="0"/>
                <a:cs typeface="Arial" panose="020B0604020202020204" pitchFamily="34" charset="0"/>
              </a:rPr>
              <a:t>Trend </a:t>
            </a: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mensile </a:t>
            </a:r>
            <a:r>
              <a:rPr lang="it-IT" altLang="it-IT" sz="1800" dirty="0" smtClean="0">
                <a:latin typeface="Arial Black" panose="020B0A04020102020204" pitchFamily="34" charset="0"/>
                <a:cs typeface="Arial" panose="020B0604020202020204" pitchFamily="34" charset="0"/>
              </a:rPr>
              <a:t>Gennaio 2007 </a:t>
            </a: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– </a:t>
            </a:r>
            <a:r>
              <a:rPr lang="it-IT" altLang="it-IT" sz="1800" dirty="0" smtClean="0">
                <a:latin typeface="Arial Black" panose="020B0A04020102020204" pitchFamily="34" charset="0"/>
                <a:cs typeface="Arial" panose="020B0604020202020204" pitchFamily="34" charset="0"/>
              </a:rPr>
              <a:t>Maggio 2018</a:t>
            </a:r>
            <a:endParaRPr lang="it-IT" altLang="it-IT" sz="1800" dirty="0"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" name="Gruppo 3"/>
          <p:cNvGrpSpPr/>
          <p:nvPr/>
        </p:nvGrpSpPr>
        <p:grpSpPr>
          <a:xfrm>
            <a:off x="407368" y="1104907"/>
            <a:ext cx="11261983" cy="5551714"/>
            <a:chOff x="407368" y="1104907"/>
            <a:chExt cx="11261983" cy="5551714"/>
          </a:xfrm>
        </p:grpSpPr>
        <p:sp>
          <p:nvSpPr>
            <p:cNvPr id="34" name="Rettangolo 33"/>
            <p:cNvSpPr/>
            <p:nvPr/>
          </p:nvSpPr>
          <p:spPr bwMode="auto">
            <a:xfrm>
              <a:off x="6589881" y="1451895"/>
              <a:ext cx="903600" cy="43956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/>
            </a:p>
          </p:txBody>
        </p:sp>
        <p:sp>
          <p:nvSpPr>
            <p:cNvPr id="36" name="Rettangolo 35"/>
            <p:cNvSpPr/>
            <p:nvPr/>
          </p:nvSpPr>
          <p:spPr bwMode="auto">
            <a:xfrm>
              <a:off x="2973684" y="1452061"/>
              <a:ext cx="903600" cy="43956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 dirty="0"/>
            </a:p>
          </p:txBody>
        </p:sp>
        <p:sp>
          <p:nvSpPr>
            <p:cNvPr id="37" name="Rettangolo 36"/>
            <p:cNvSpPr/>
            <p:nvPr/>
          </p:nvSpPr>
          <p:spPr bwMode="auto">
            <a:xfrm>
              <a:off x="1167264" y="1452889"/>
              <a:ext cx="903600" cy="43956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/>
            </a:p>
          </p:txBody>
        </p:sp>
        <p:sp>
          <p:nvSpPr>
            <p:cNvPr id="38" name="Rettangolo 37"/>
            <p:cNvSpPr/>
            <p:nvPr/>
          </p:nvSpPr>
          <p:spPr bwMode="auto">
            <a:xfrm>
              <a:off x="4781518" y="1452063"/>
              <a:ext cx="903600" cy="43956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/>
            </a:p>
          </p:txBody>
        </p:sp>
        <p:sp>
          <p:nvSpPr>
            <p:cNvPr id="48" name="CasellaDiTesto 47"/>
            <p:cNvSpPr txBox="1"/>
            <p:nvPr/>
          </p:nvSpPr>
          <p:spPr>
            <a:xfrm>
              <a:off x="1204187" y="1106879"/>
              <a:ext cx="864000" cy="272770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07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0" name="Rettangolo 49"/>
            <p:cNvSpPr/>
            <p:nvPr/>
          </p:nvSpPr>
          <p:spPr bwMode="auto">
            <a:xfrm>
              <a:off x="8399311" y="1454706"/>
              <a:ext cx="903600" cy="43956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/>
            </a:p>
          </p:txBody>
        </p:sp>
        <p:sp>
          <p:nvSpPr>
            <p:cNvPr id="54" name="Rettangolo 53"/>
            <p:cNvSpPr/>
            <p:nvPr/>
          </p:nvSpPr>
          <p:spPr bwMode="auto">
            <a:xfrm>
              <a:off x="10206408" y="1451293"/>
              <a:ext cx="903600" cy="43956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/>
            </a:p>
          </p:txBody>
        </p:sp>
        <p:sp>
          <p:nvSpPr>
            <p:cNvPr id="23" name="CasellaDiTesto 22"/>
            <p:cNvSpPr txBox="1"/>
            <p:nvPr/>
          </p:nvSpPr>
          <p:spPr>
            <a:xfrm>
              <a:off x="2104263" y="1108545"/>
              <a:ext cx="846000" cy="272770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08</a:t>
              </a:r>
            </a:p>
          </p:txBody>
        </p:sp>
        <p:sp>
          <p:nvSpPr>
            <p:cNvPr id="24" name="CasellaDiTesto 23"/>
            <p:cNvSpPr txBox="1"/>
            <p:nvPr/>
          </p:nvSpPr>
          <p:spPr>
            <a:xfrm>
              <a:off x="3001788" y="1109364"/>
              <a:ext cx="864000" cy="272770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09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CasellaDiTesto 27"/>
            <p:cNvSpPr txBox="1"/>
            <p:nvPr/>
          </p:nvSpPr>
          <p:spPr>
            <a:xfrm>
              <a:off x="4809336" y="1109364"/>
              <a:ext cx="864000" cy="272770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1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CasellaDiTesto 29"/>
            <p:cNvSpPr txBox="1"/>
            <p:nvPr/>
          </p:nvSpPr>
          <p:spPr>
            <a:xfrm>
              <a:off x="3926675" y="1108211"/>
              <a:ext cx="846000" cy="272770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0</a:t>
              </a:r>
            </a:p>
          </p:txBody>
        </p:sp>
        <p:sp>
          <p:nvSpPr>
            <p:cNvPr id="35" name="CasellaDiTesto 34"/>
            <p:cNvSpPr txBox="1"/>
            <p:nvPr/>
          </p:nvSpPr>
          <p:spPr>
            <a:xfrm>
              <a:off x="5731684" y="1106329"/>
              <a:ext cx="846000" cy="272770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2</a:t>
              </a:r>
            </a:p>
          </p:txBody>
        </p:sp>
        <p:sp>
          <p:nvSpPr>
            <p:cNvPr id="40" name="CasellaDiTesto 39"/>
            <p:cNvSpPr txBox="1"/>
            <p:nvPr/>
          </p:nvSpPr>
          <p:spPr>
            <a:xfrm>
              <a:off x="6615516" y="1109504"/>
              <a:ext cx="864000" cy="272770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3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" name="CasellaDiTesto 40"/>
            <p:cNvSpPr txBox="1"/>
            <p:nvPr/>
          </p:nvSpPr>
          <p:spPr>
            <a:xfrm>
              <a:off x="7530123" y="1108257"/>
              <a:ext cx="846000" cy="272770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4</a:t>
              </a:r>
            </a:p>
          </p:txBody>
        </p:sp>
        <p:sp>
          <p:nvSpPr>
            <p:cNvPr id="42" name="CasellaDiTesto 41"/>
            <p:cNvSpPr txBox="1"/>
            <p:nvPr/>
          </p:nvSpPr>
          <p:spPr>
            <a:xfrm>
              <a:off x="8430628" y="1110002"/>
              <a:ext cx="864000" cy="272770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5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7" name="CasellaDiTesto 56"/>
            <p:cNvSpPr txBox="1"/>
            <p:nvPr/>
          </p:nvSpPr>
          <p:spPr>
            <a:xfrm>
              <a:off x="9342126" y="1104907"/>
              <a:ext cx="846000" cy="272770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6</a:t>
              </a:r>
            </a:p>
          </p:txBody>
        </p:sp>
        <p:sp>
          <p:nvSpPr>
            <p:cNvPr id="58" name="CasellaDiTesto 57"/>
            <p:cNvSpPr txBox="1"/>
            <p:nvPr/>
          </p:nvSpPr>
          <p:spPr>
            <a:xfrm>
              <a:off x="10243437" y="1106528"/>
              <a:ext cx="864000" cy="272770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smtClean="0">
                  <a:latin typeface="Arial" panose="020B0604020202020204" pitchFamily="34" charset="0"/>
                  <a:cs typeface="Arial" panose="020B0604020202020204" pitchFamily="34" charset="0"/>
                </a:rPr>
                <a:t>2017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CasellaDiTesto 28"/>
            <p:cNvSpPr txBox="1"/>
            <p:nvPr/>
          </p:nvSpPr>
          <p:spPr>
            <a:xfrm>
              <a:off x="11165351" y="1104907"/>
              <a:ext cx="504000" cy="261610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8</a:t>
              </a:r>
            </a:p>
          </p:txBody>
        </p:sp>
        <p:graphicFrame>
          <p:nvGraphicFramePr>
            <p:cNvPr id="26" name="Grafico 25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3631065866"/>
                </p:ext>
              </p:extLst>
            </p:nvPr>
          </p:nvGraphicFramePr>
          <p:xfrm>
            <a:off x="407368" y="1268761"/>
            <a:ext cx="11089232" cy="538786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3971016765"/>
      </p:ext>
    </p:extLst>
  </p:cSld>
  <p:clrMapOvr>
    <a:masterClrMapping/>
  </p:clrMapOvr>
  <p:transition spd="med">
    <p:strips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0418" grpId="0" autoUpdateAnimBg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418" name="Text Box 66"/>
          <p:cNvSpPr txBox="1">
            <a:spLocks noChangeArrowheads="1"/>
          </p:cNvSpPr>
          <p:nvPr/>
        </p:nvSpPr>
        <p:spPr bwMode="auto">
          <a:xfrm>
            <a:off x="1524000" y="0"/>
            <a:ext cx="9144000" cy="784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Char char="–"/>
              <a:defRPr sz="28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None/>
            </a:pP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      Fatturato Totale </a:t>
            </a:r>
            <a:r>
              <a:rPr lang="it-IT" altLang="it-IT" sz="1800" b="0" dirty="0">
                <a:latin typeface="Arial" panose="020B0604020202020204" pitchFamily="34" charset="0"/>
                <a:cs typeface="Arial" panose="020B0604020202020204" pitchFamily="34" charset="0"/>
              </a:rPr>
              <a:t>(in migliaia di euro)</a:t>
            </a:r>
            <a:endParaRPr lang="it-IT" altLang="it-IT" sz="1800" b="0" dirty="0">
              <a:solidFill>
                <a:srgbClr val="A19DF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eaLnBrk="1" hangingPunct="1">
              <a:spcBef>
                <a:spcPct val="50000"/>
              </a:spcBef>
              <a:buClrTx/>
              <a:buNone/>
            </a:pPr>
            <a:r>
              <a:rPr lang="it-IT" altLang="it-IT" sz="1800" dirty="0" smtClean="0">
                <a:latin typeface="Arial Black" panose="020B0A04020102020204" pitchFamily="34" charset="0"/>
                <a:cs typeface="Arial" panose="020B0604020202020204" pitchFamily="34" charset="0"/>
              </a:rPr>
              <a:t>Media </a:t>
            </a: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mobile Gennaio 2007 – </a:t>
            </a:r>
            <a:r>
              <a:rPr lang="it-IT" altLang="it-IT" sz="1800" dirty="0" smtClean="0">
                <a:latin typeface="Arial Black" panose="020B0A04020102020204" pitchFamily="34" charset="0"/>
                <a:cs typeface="Arial" panose="020B0604020202020204" pitchFamily="34" charset="0"/>
              </a:rPr>
              <a:t>Maggio 2018</a:t>
            </a:r>
            <a:endParaRPr lang="it-IT" altLang="it-IT" sz="1600" dirty="0">
              <a:solidFill>
                <a:srgbClr val="A19DF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" name="Gruppo 1"/>
          <p:cNvGrpSpPr/>
          <p:nvPr/>
        </p:nvGrpSpPr>
        <p:grpSpPr>
          <a:xfrm>
            <a:off x="551384" y="1191139"/>
            <a:ext cx="11155753" cy="5686829"/>
            <a:chOff x="551384" y="1191139"/>
            <a:chExt cx="11155753" cy="5686829"/>
          </a:xfrm>
        </p:grpSpPr>
        <p:sp>
          <p:nvSpPr>
            <p:cNvPr id="25" name="Rettangolo 24"/>
            <p:cNvSpPr/>
            <p:nvPr/>
          </p:nvSpPr>
          <p:spPr bwMode="auto">
            <a:xfrm>
              <a:off x="7169839" y="1575143"/>
              <a:ext cx="997200" cy="43200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/>
            </a:p>
          </p:txBody>
        </p:sp>
        <p:sp>
          <p:nvSpPr>
            <p:cNvPr id="30" name="Rettangolo 29"/>
            <p:cNvSpPr/>
            <p:nvPr/>
          </p:nvSpPr>
          <p:spPr bwMode="auto">
            <a:xfrm>
              <a:off x="3189153" y="1572136"/>
              <a:ext cx="997200" cy="43200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 dirty="0"/>
            </a:p>
          </p:txBody>
        </p:sp>
        <p:sp>
          <p:nvSpPr>
            <p:cNvPr id="31" name="Rettangolo 30"/>
            <p:cNvSpPr/>
            <p:nvPr/>
          </p:nvSpPr>
          <p:spPr bwMode="auto">
            <a:xfrm>
              <a:off x="1208108" y="1572964"/>
              <a:ext cx="997200" cy="43200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/>
            </a:p>
          </p:txBody>
        </p:sp>
        <p:sp>
          <p:nvSpPr>
            <p:cNvPr id="32" name="Rettangolo 31"/>
            <p:cNvSpPr/>
            <p:nvPr/>
          </p:nvSpPr>
          <p:spPr bwMode="auto">
            <a:xfrm>
              <a:off x="5181137" y="1572138"/>
              <a:ext cx="997200" cy="43200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/>
            </a:p>
          </p:txBody>
        </p:sp>
        <p:sp>
          <p:nvSpPr>
            <p:cNvPr id="33" name="CasellaDiTesto 32"/>
            <p:cNvSpPr txBox="1"/>
            <p:nvPr/>
          </p:nvSpPr>
          <p:spPr>
            <a:xfrm>
              <a:off x="1263447" y="1193111"/>
              <a:ext cx="936000" cy="261610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08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" name="Rettangolo 33"/>
            <p:cNvSpPr/>
            <p:nvPr/>
          </p:nvSpPr>
          <p:spPr bwMode="auto">
            <a:xfrm>
              <a:off x="9158657" y="1577954"/>
              <a:ext cx="993600" cy="43200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/>
            </a:p>
          </p:txBody>
        </p:sp>
        <p:graphicFrame>
          <p:nvGraphicFramePr>
            <p:cNvPr id="40" name="Grafico 39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981879670"/>
                </p:ext>
              </p:extLst>
            </p:nvPr>
          </p:nvGraphicFramePr>
          <p:xfrm>
            <a:off x="831652" y="1565301"/>
            <a:ext cx="10799572" cy="477404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41" name="Rettangolo 40"/>
            <p:cNvSpPr/>
            <p:nvPr/>
          </p:nvSpPr>
          <p:spPr bwMode="auto">
            <a:xfrm>
              <a:off x="11148674" y="1573589"/>
              <a:ext cx="331200" cy="43200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/>
            </a:p>
          </p:txBody>
        </p:sp>
        <p:sp>
          <p:nvSpPr>
            <p:cNvPr id="42" name="CasellaDiTesto 41"/>
            <p:cNvSpPr txBox="1"/>
            <p:nvPr/>
          </p:nvSpPr>
          <p:spPr>
            <a:xfrm>
              <a:off x="2280363" y="1194777"/>
              <a:ext cx="900000" cy="261610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09</a:t>
              </a:r>
            </a:p>
          </p:txBody>
        </p:sp>
        <p:sp>
          <p:nvSpPr>
            <p:cNvPr id="46" name="CasellaDiTesto 45"/>
            <p:cNvSpPr txBox="1"/>
            <p:nvPr/>
          </p:nvSpPr>
          <p:spPr>
            <a:xfrm>
              <a:off x="3251548" y="1195596"/>
              <a:ext cx="936000" cy="261610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0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7" name="CasellaDiTesto 46"/>
            <p:cNvSpPr txBox="1"/>
            <p:nvPr/>
          </p:nvSpPr>
          <p:spPr>
            <a:xfrm>
              <a:off x="5238166" y="1195596"/>
              <a:ext cx="936000" cy="261610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2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8" name="CasellaDiTesto 47"/>
            <p:cNvSpPr txBox="1"/>
            <p:nvPr/>
          </p:nvSpPr>
          <p:spPr>
            <a:xfrm>
              <a:off x="4258350" y="1194443"/>
              <a:ext cx="900000" cy="261610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1</a:t>
              </a:r>
            </a:p>
          </p:txBody>
        </p:sp>
        <p:sp>
          <p:nvSpPr>
            <p:cNvPr id="49" name="CasellaDiTesto 48"/>
            <p:cNvSpPr txBox="1"/>
            <p:nvPr/>
          </p:nvSpPr>
          <p:spPr>
            <a:xfrm>
              <a:off x="6242429" y="1192561"/>
              <a:ext cx="900000" cy="261610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3</a:t>
              </a:r>
            </a:p>
          </p:txBody>
        </p:sp>
        <p:sp>
          <p:nvSpPr>
            <p:cNvPr id="50" name="CasellaDiTesto 49"/>
            <p:cNvSpPr txBox="1"/>
            <p:nvPr/>
          </p:nvSpPr>
          <p:spPr>
            <a:xfrm>
              <a:off x="7215796" y="1195736"/>
              <a:ext cx="936000" cy="261610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4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1" name="CasellaDiTesto 50"/>
            <p:cNvSpPr txBox="1"/>
            <p:nvPr/>
          </p:nvSpPr>
          <p:spPr>
            <a:xfrm>
              <a:off x="8230733" y="1194489"/>
              <a:ext cx="900000" cy="261610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5</a:t>
              </a:r>
            </a:p>
          </p:txBody>
        </p:sp>
        <p:sp>
          <p:nvSpPr>
            <p:cNvPr id="52" name="CasellaDiTesto 51"/>
            <p:cNvSpPr txBox="1"/>
            <p:nvPr/>
          </p:nvSpPr>
          <p:spPr>
            <a:xfrm>
              <a:off x="9200453" y="1196234"/>
              <a:ext cx="936000" cy="261610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6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3" name="CasellaDiTesto 52"/>
            <p:cNvSpPr txBox="1"/>
            <p:nvPr/>
          </p:nvSpPr>
          <p:spPr>
            <a:xfrm>
              <a:off x="10193231" y="1191139"/>
              <a:ext cx="936000" cy="261610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7</a:t>
              </a:r>
            </a:p>
          </p:txBody>
        </p:sp>
        <p:sp>
          <p:nvSpPr>
            <p:cNvPr id="54" name="CasellaDiTesto 53"/>
            <p:cNvSpPr txBox="1"/>
            <p:nvPr/>
          </p:nvSpPr>
          <p:spPr>
            <a:xfrm>
              <a:off x="11185735" y="1191139"/>
              <a:ext cx="521402" cy="261610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8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aphicFrame>
          <p:nvGraphicFramePr>
            <p:cNvPr id="26" name="Grafico 25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4054717132"/>
                </p:ext>
              </p:extLst>
            </p:nvPr>
          </p:nvGraphicFramePr>
          <p:xfrm>
            <a:off x="551384" y="1488832"/>
            <a:ext cx="11136702" cy="538913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3012765904"/>
      </p:ext>
    </p:extLst>
  </p:cSld>
  <p:clrMapOvr>
    <a:masterClrMapping/>
  </p:clrMapOvr>
  <p:transition spd="med">
    <p:strips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0418" grpId="0" autoUpdateAnimBg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Default Design">
  <a:themeElements>
    <a:clrScheme name="1_Default Design 7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3399FF"/>
      </a:accent1>
      <a:accent2>
        <a:srgbClr val="99FFCC"/>
      </a:accent2>
      <a:accent3>
        <a:srgbClr val="FFFFFF"/>
      </a:accent3>
      <a:accent4>
        <a:srgbClr val="000000"/>
      </a:accent4>
      <a:accent5>
        <a:srgbClr val="ADCAFF"/>
      </a:accent5>
      <a:accent6>
        <a:srgbClr val="8AE7B9"/>
      </a:accent6>
      <a:hlink>
        <a:srgbClr val="CC00CC"/>
      </a:hlink>
      <a:folHlink>
        <a:srgbClr val="B2B2B2"/>
      </a:folHlink>
    </a:clrScheme>
    <a:fontScheme name="1_Default Desig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28575">
          <a:solidFill>
            <a:srgbClr val="FF0000"/>
          </a:solidFill>
          <a:round/>
          <a:headEnd/>
          <a:tailEnd/>
        </a:ln>
      </a:spPr>
      <a:bodyPr>
        <a:spAutoFit/>
      </a:bodyPr>
      <a:lstStyle>
        <a:defPPr>
          <a:defRPr/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it-IT" sz="11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2_Default Design">
  <a:themeElements>
    <a:clrScheme name="1_Default Design 7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3399FF"/>
      </a:accent1>
      <a:accent2>
        <a:srgbClr val="99FFCC"/>
      </a:accent2>
      <a:accent3>
        <a:srgbClr val="FFFFFF"/>
      </a:accent3>
      <a:accent4>
        <a:srgbClr val="000000"/>
      </a:accent4>
      <a:accent5>
        <a:srgbClr val="ADCAFF"/>
      </a:accent5>
      <a:accent6>
        <a:srgbClr val="8AE7B9"/>
      </a:accent6>
      <a:hlink>
        <a:srgbClr val="CC00CC"/>
      </a:hlink>
      <a:folHlink>
        <a:srgbClr val="B2B2B2"/>
      </a:folHlink>
    </a:clrScheme>
    <a:fontScheme name="1_Default Desig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28575">
          <a:solidFill>
            <a:srgbClr val="FF0000"/>
          </a:solidFill>
          <a:round/>
          <a:headEnd/>
          <a:tailEnd/>
        </a:ln>
      </a:spPr>
      <a:bodyPr>
        <a:spAutoFit/>
      </a:bodyPr>
      <a:lstStyle>
        <a:defPPr>
          <a:defRPr/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it-IT" sz="11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Reply Consulting PRESENTATION WHITE 4.3">
  <a:themeElements>
    <a:clrScheme name="Impostazioni personalizzate 150">
      <a:dk1>
        <a:srgbClr val="FFFFFF"/>
      </a:dk1>
      <a:lt1>
        <a:srgbClr val="000000"/>
      </a:lt1>
      <a:dk2>
        <a:srgbClr val="053238"/>
      </a:dk2>
      <a:lt2>
        <a:srgbClr val="576B8A"/>
      </a:lt2>
      <a:accent1>
        <a:srgbClr val="C6D1E2"/>
      </a:accent1>
      <a:accent2>
        <a:srgbClr val="576B8A"/>
      </a:accent2>
      <a:accent3>
        <a:srgbClr val="84D896"/>
      </a:accent3>
      <a:accent4>
        <a:srgbClr val="22C0BD"/>
      </a:accent4>
      <a:accent5>
        <a:srgbClr val="6375B3"/>
      </a:accent5>
      <a:accent6>
        <a:srgbClr val="8BB4FF"/>
      </a:accent6>
      <a:hlink>
        <a:srgbClr val="FFFE50"/>
      </a:hlink>
      <a:folHlink>
        <a:srgbClr val="FFC10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Reply_ppt_template_black_4.3-TRIPLESENSE-CLD-rev.pptx" id="{5300BBF0-B928-40B7-A4F0-B85F7BB21587}" vid="{87529293-EB9D-4693-B12D-DC576F2C49D1}"/>
    </a:ext>
  </a:extLst>
</a:theme>
</file>

<file path=ppt/theme/theme4.xml><?xml version="1.0" encoding="utf-8"?>
<a:theme xmlns:a="http://schemas.openxmlformats.org/drawingml/2006/main" name="Reply">
  <a:themeElements>
    <a:clrScheme name="Impostazioni personalizzate 149">
      <a:dk1>
        <a:srgbClr val="FFFFFF"/>
      </a:dk1>
      <a:lt1>
        <a:srgbClr val="000000"/>
      </a:lt1>
      <a:dk2>
        <a:srgbClr val="053238"/>
      </a:dk2>
      <a:lt2>
        <a:srgbClr val="576B8A"/>
      </a:lt2>
      <a:accent1>
        <a:srgbClr val="C6D1E2"/>
      </a:accent1>
      <a:accent2>
        <a:srgbClr val="5A6F90"/>
      </a:accent2>
      <a:accent3>
        <a:srgbClr val="84D896"/>
      </a:accent3>
      <a:accent4>
        <a:srgbClr val="22C0BD"/>
      </a:accent4>
      <a:accent5>
        <a:srgbClr val="6375B3"/>
      </a:accent5>
      <a:accent6>
        <a:srgbClr val="8BB4FF"/>
      </a:accent6>
      <a:hlink>
        <a:srgbClr val="FFFE50"/>
      </a:hlink>
      <a:folHlink>
        <a:srgbClr val="FFC10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4" id="{097ED64C-1469-4E9B-A6EE-E169F18D7DB3}" vid="{B73C506B-0DF6-4CFA-9B1D-8AAF7C797600}"/>
    </a:ext>
  </a:extLst>
</a:theme>
</file>

<file path=ppt/theme/theme5.xml><?xml version="1.0" encoding="utf-8"?>
<a:theme xmlns:a="http://schemas.openxmlformats.org/drawingml/2006/main" name="1_Reply">
  <a:themeElements>
    <a:clrScheme name="Impostazioni personalizzate 149">
      <a:dk1>
        <a:srgbClr val="FFFFFF"/>
      </a:dk1>
      <a:lt1>
        <a:srgbClr val="000000"/>
      </a:lt1>
      <a:dk2>
        <a:srgbClr val="053238"/>
      </a:dk2>
      <a:lt2>
        <a:srgbClr val="576B8A"/>
      </a:lt2>
      <a:accent1>
        <a:srgbClr val="C6D1E2"/>
      </a:accent1>
      <a:accent2>
        <a:srgbClr val="5A6F90"/>
      </a:accent2>
      <a:accent3>
        <a:srgbClr val="84D896"/>
      </a:accent3>
      <a:accent4>
        <a:srgbClr val="22C0BD"/>
      </a:accent4>
      <a:accent5>
        <a:srgbClr val="6375B3"/>
      </a:accent5>
      <a:accent6>
        <a:srgbClr val="8BB4FF"/>
      </a:accent6>
      <a:hlink>
        <a:srgbClr val="FFFE50"/>
      </a:hlink>
      <a:folHlink>
        <a:srgbClr val="FFC10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4" id="{097ED64C-1469-4E9B-A6EE-E169F18D7DB3}" vid="{B73C506B-0DF6-4CFA-9B1D-8AAF7C797600}"/>
    </a:ext>
  </a:extLst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Watermark</Template>
  <TotalTime>23364</TotalTime>
  <Words>908</Words>
  <Application>Microsoft Office PowerPoint</Application>
  <PresentationFormat>Widescreen</PresentationFormat>
  <Paragraphs>737</Paragraphs>
  <Slides>10</Slides>
  <Notes>3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4</vt:i4>
      </vt:variant>
      <vt:variant>
        <vt:lpstr>Tema</vt:lpstr>
      </vt:variant>
      <vt:variant>
        <vt:i4>5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10</vt:i4>
      </vt:variant>
    </vt:vector>
  </HeadingPairs>
  <TitlesOfParts>
    <vt:vector size="20" baseType="lpstr">
      <vt:lpstr>Arial</vt:lpstr>
      <vt:lpstr>Arial Black</vt:lpstr>
      <vt:lpstr>Verdana</vt:lpstr>
      <vt:lpstr>Wingdings</vt:lpstr>
      <vt:lpstr>1_Default Design</vt:lpstr>
      <vt:lpstr>2_Default Design</vt:lpstr>
      <vt:lpstr>Reply Consulting PRESENTATION WHITE 4.3</vt:lpstr>
      <vt:lpstr>Reply</vt:lpstr>
      <vt:lpstr>1_Reply</vt:lpstr>
      <vt:lpstr>think-cell Folie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Thank you</vt:lpstr>
    </vt:vector>
  </TitlesOfParts>
  <Company>Reply Consulting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Dati Mensili Osservatorio Stampa</dc:title>
  <dc:creator>FCP</dc:creator>
  <cp:lastModifiedBy>Selvaggi Laura</cp:lastModifiedBy>
  <cp:revision>2018</cp:revision>
  <cp:lastPrinted>2018-06-19T10:58:58Z</cp:lastPrinted>
  <dcterms:created xsi:type="dcterms:W3CDTF">2006-03-29T09:09:15Z</dcterms:created>
  <dcterms:modified xsi:type="dcterms:W3CDTF">2018-06-19T14:10:06Z</dcterms:modified>
</cp:coreProperties>
</file>